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2.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3" r:id="rId5"/>
  </p:sldMasterIdLst>
  <p:notesMasterIdLst>
    <p:notesMasterId r:id="rId20"/>
  </p:notesMasterIdLst>
  <p:sldIdLst>
    <p:sldId id="257" r:id="rId6"/>
    <p:sldId id="260" r:id="rId7"/>
    <p:sldId id="261" r:id="rId8"/>
    <p:sldId id="262" r:id="rId9"/>
    <p:sldId id="263" r:id="rId10"/>
    <p:sldId id="264" r:id="rId11"/>
    <p:sldId id="266" r:id="rId12"/>
    <p:sldId id="272" r:id="rId13"/>
    <p:sldId id="2147375613" r:id="rId14"/>
    <p:sldId id="270" r:id="rId15"/>
    <p:sldId id="271" r:id="rId16"/>
    <p:sldId id="273" r:id="rId17"/>
    <p:sldId id="267" r:id="rId18"/>
    <p:sldId id="265"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D3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785" autoAdjust="0"/>
    <p:restoredTop sz="98865" autoAdjust="0"/>
  </p:normalViewPr>
  <p:slideViewPr>
    <p:cSldViewPr>
      <p:cViewPr varScale="1">
        <p:scale>
          <a:sx n="86" d="100"/>
          <a:sy n="86" d="100"/>
        </p:scale>
        <p:origin x="893" y="4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olagani, Kavitha Lakshmi" userId="286371a6-a14f-4b36-8dbf-ac1e3f5a140d" providerId="ADAL" clId="{6F85FD32-3D88-4D3B-BA1A-EBEFA353B2D9}"/>
    <pc:docChg chg="undo custSel addSld delSld modSld sldOrd">
      <pc:chgData name="Golagani, Kavitha Lakshmi" userId="286371a6-a14f-4b36-8dbf-ac1e3f5a140d" providerId="ADAL" clId="{6F85FD32-3D88-4D3B-BA1A-EBEFA353B2D9}" dt="2022-02-11T18:25:13.954" v="4815" actId="2696"/>
      <pc:docMkLst>
        <pc:docMk/>
      </pc:docMkLst>
      <pc:sldChg chg="modSp mod">
        <pc:chgData name="Golagani, Kavitha Lakshmi" userId="286371a6-a14f-4b36-8dbf-ac1e3f5a140d" providerId="ADAL" clId="{6F85FD32-3D88-4D3B-BA1A-EBEFA353B2D9}" dt="2022-02-11T07:14:31.071" v="280" actId="20577"/>
        <pc:sldMkLst>
          <pc:docMk/>
          <pc:sldMk cId="1683435562" sldId="257"/>
        </pc:sldMkLst>
        <pc:spChg chg="mod">
          <ac:chgData name="Golagani, Kavitha Lakshmi" userId="286371a6-a14f-4b36-8dbf-ac1e3f5a140d" providerId="ADAL" clId="{6F85FD32-3D88-4D3B-BA1A-EBEFA353B2D9}" dt="2022-02-11T07:14:31.071" v="280" actId="20577"/>
          <ac:spMkLst>
            <pc:docMk/>
            <pc:sldMk cId="1683435562" sldId="257"/>
            <ac:spMk id="12" creationId="{00000000-0000-0000-0000-000000000000}"/>
          </ac:spMkLst>
        </pc:spChg>
        <pc:graphicFrameChg chg="modGraphic">
          <ac:chgData name="Golagani, Kavitha Lakshmi" userId="286371a6-a14f-4b36-8dbf-ac1e3f5a140d" providerId="ADAL" clId="{6F85FD32-3D88-4D3B-BA1A-EBEFA353B2D9}" dt="2022-02-11T06:52:28.933" v="100" actId="20577"/>
          <ac:graphicFrameMkLst>
            <pc:docMk/>
            <pc:sldMk cId="1683435562" sldId="257"/>
            <ac:graphicFrameMk id="18" creationId="{00000000-0000-0000-0000-000000000000}"/>
          </ac:graphicFrameMkLst>
        </pc:graphicFrameChg>
      </pc:sldChg>
      <pc:sldChg chg="addSp delSp modSp mod">
        <pc:chgData name="Golagani, Kavitha Lakshmi" userId="286371a6-a14f-4b36-8dbf-ac1e3f5a140d" providerId="ADAL" clId="{6F85FD32-3D88-4D3B-BA1A-EBEFA353B2D9}" dt="2022-02-11T18:21:43.096" v="4634" actId="20577"/>
        <pc:sldMkLst>
          <pc:docMk/>
          <pc:sldMk cId="3325237549" sldId="261"/>
        </pc:sldMkLst>
        <pc:spChg chg="add mod">
          <ac:chgData name="Golagani, Kavitha Lakshmi" userId="286371a6-a14f-4b36-8dbf-ac1e3f5a140d" providerId="ADAL" clId="{6F85FD32-3D88-4D3B-BA1A-EBEFA353B2D9}" dt="2022-02-11T16:43:59.746" v="4247" actId="20577"/>
          <ac:spMkLst>
            <pc:docMk/>
            <pc:sldMk cId="3325237549" sldId="261"/>
            <ac:spMk id="9" creationId="{5555837A-A2CC-4AC6-9BF1-07678EB2B015}"/>
          </ac:spMkLst>
        </pc:spChg>
        <pc:spChg chg="mod">
          <ac:chgData name="Golagani, Kavitha Lakshmi" userId="286371a6-a14f-4b36-8dbf-ac1e3f5a140d" providerId="ADAL" clId="{6F85FD32-3D88-4D3B-BA1A-EBEFA353B2D9}" dt="2022-02-11T18:21:43.096" v="4634" actId="20577"/>
          <ac:spMkLst>
            <pc:docMk/>
            <pc:sldMk cId="3325237549" sldId="261"/>
            <ac:spMk id="14" creationId="{00000000-0000-0000-0000-000000000000}"/>
          </ac:spMkLst>
        </pc:spChg>
        <pc:spChg chg="del mod">
          <ac:chgData name="Golagani, Kavitha Lakshmi" userId="286371a6-a14f-4b36-8dbf-ac1e3f5a140d" providerId="ADAL" clId="{6F85FD32-3D88-4D3B-BA1A-EBEFA353B2D9}" dt="2022-02-11T13:25:15.603" v="1396" actId="478"/>
          <ac:spMkLst>
            <pc:docMk/>
            <pc:sldMk cId="3325237549" sldId="261"/>
            <ac:spMk id="15" creationId="{00000000-0000-0000-0000-000000000000}"/>
          </ac:spMkLst>
        </pc:spChg>
      </pc:sldChg>
      <pc:sldChg chg="addSp delSp modSp mod">
        <pc:chgData name="Golagani, Kavitha Lakshmi" userId="286371a6-a14f-4b36-8dbf-ac1e3f5a140d" providerId="ADAL" clId="{6F85FD32-3D88-4D3B-BA1A-EBEFA353B2D9}" dt="2022-02-11T17:17:32.545" v="4573" actId="20577"/>
        <pc:sldMkLst>
          <pc:docMk/>
          <pc:sldMk cId="2587139606" sldId="262"/>
        </pc:sldMkLst>
        <pc:spChg chg="mod">
          <ac:chgData name="Golagani, Kavitha Lakshmi" userId="286371a6-a14f-4b36-8dbf-ac1e3f5a140d" providerId="ADAL" clId="{6F85FD32-3D88-4D3B-BA1A-EBEFA353B2D9}" dt="2022-02-11T17:17:32.545" v="4573" actId="20577"/>
          <ac:spMkLst>
            <pc:docMk/>
            <pc:sldMk cId="2587139606" sldId="262"/>
            <ac:spMk id="2" creationId="{00000000-0000-0000-0000-000000000000}"/>
          </ac:spMkLst>
        </pc:spChg>
        <pc:spChg chg="add del mod">
          <ac:chgData name="Golagani, Kavitha Lakshmi" userId="286371a6-a14f-4b36-8dbf-ac1e3f5a140d" providerId="ADAL" clId="{6F85FD32-3D88-4D3B-BA1A-EBEFA353B2D9}" dt="2022-02-11T16:03:04.987" v="3832"/>
          <ac:spMkLst>
            <pc:docMk/>
            <pc:sldMk cId="2587139606" sldId="262"/>
            <ac:spMk id="4" creationId="{E91C2395-BBC6-43A4-AF77-14A4F2FD8CDD}"/>
          </ac:spMkLst>
        </pc:spChg>
        <pc:spChg chg="add mod">
          <ac:chgData name="Golagani, Kavitha Lakshmi" userId="286371a6-a14f-4b36-8dbf-ac1e3f5a140d" providerId="ADAL" clId="{6F85FD32-3D88-4D3B-BA1A-EBEFA353B2D9}" dt="2022-02-11T17:10:36.809" v="4523" actId="20577"/>
          <ac:spMkLst>
            <pc:docMk/>
            <pc:sldMk cId="2587139606" sldId="262"/>
            <ac:spMk id="5" creationId="{653A8864-BFED-4722-854A-EC444B27F602}"/>
          </ac:spMkLst>
        </pc:spChg>
        <pc:spChg chg="mod">
          <ac:chgData name="Golagani, Kavitha Lakshmi" userId="286371a6-a14f-4b36-8dbf-ac1e3f5a140d" providerId="ADAL" clId="{6F85FD32-3D88-4D3B-BA1A-EBEFA353B2D9}" dt="2022-02-11T10:57:36.248" v="1038" actId="21"/>
          <ac:spMkLst>
            <pc:docMk/>
            <pc:sldMk cId="2587139606" sldId="262"/>
            <ac:spMk id="14" creationId="{00000000-0000-0000-0000-000000000000}"/>
          </ac:spMkLst>
        </pc:spChg>
        <pc:grpChg chg="mod">
          <ac:chgData name="Golagani, Kavitha Lakshmi" userId="286371a6-a14f-4b36-8dbf-ac1e3f5a140d" providerId="ADAL" clId="{6F85FD32-3D88-4D3B-BA1A-EBEFA353B2D9}" dt="2022-02-11T16:01:32.090" v="3812" actId="1076"/>
          <ac:grpSpMkLst>
            <pc:docMk/>
            <pc:sldMk cId="2587139606" sldId="262"/>
            <ac:grpSpMk id="13" creationId="{00000000-0000-0000-0000-000000000000}"/>
          </ac:grpSpMkLst>
        </pc:grpChg>
      </pc:sldChg>
      <pc:sldChg chg="modSp mod">
        <pc:chgData name="Golagani, Kavitha Lakshmi" userId="286371a6-a14f-4b36-8dbf-ac1e3f5a140d" providerId="ADAL" clId="{6F85FD32-3D88-4D3B-BA1A-EBEFA353B2D9}" dt="2022-02-11T17:17:05.234" v="4554" actId="6549"/>
        <pc:sldMkLst>
          <pc:docMk/>
          <pc:sldMk cId="3097654171" sldId="263"/>
        </pc:sldMkLst>
        <pc:spChg chg="mod">
          <ac:chgData name="Golagani, Kavitha Lakshmi" userId="286371a6-a14f-4b36-8dbf-ac1e3f5a140d" providerId="ADAL" clId="{6F85FD32-3D88-4D3B-BA1A-EBEFA353B2D9}" dt="2022-02-11T17:13:28.156" v="4547" actId="20577"/>
          <ac:spMkLst>
            <pc:docMk/>
            <pc:sldMk cId="3097654171" sldId="263"/>
            <ac:spMk id="25" creationId="{00000000-0000-0000-0000-000000000000}"/>
          </ac:spMkLst>
        </pc:spChg>
        <pc:spChg chg="mod">
          <ac:chgData name="Golagani, Kavitha Lakshmi" userId="286371a6-a14f-4b36-8dbf-ac1e3f5a140d" providerId="ADAL" clId="{6F85FD32-3D88-4D3B-BA1A-EBEFA353B2D9}" dt="2022-02-11T17:17:05.234" v="4554" actId="6549"/>
          <ac:spMkLst>
            <pc:docMk/>
            <pc:sldMk cId="3097654171" sldId="263"/>
            <ac:spMk id="26" creationId="{00000000-0000-0000-0000-000000000000}"/>
          </ac:spMkLst>
        </pc:spChg>
      </pc:sldChg>
      <pc:sldChg chg="delSp modSp mod">
        <pc:chgData name="Golagani, Kavitha Lakshmi" userId="286371a6-a14f-4b36-8dbf-ac1e3f5a140d" providerId="ADAL" clId="{6F85FD32-3D88-4D3B-BA1A-EBEFA353B2D9}" dt="2022-02-11T16:53:20.366" v="4363" actId="5793"/>
        <pc:sldMkLst>
          <pc:docMk/>
          <pc:sldMk cId="1982478519" sldId="264"/>
        </pc:sldMkLst>
        <pc:spChg chg="mod">
          <ac:chgData name="Golagani, Kavitha Lakshmi" userId="286371a6-a14f-4b36-8dbf-ac1e3f5a140d" providerId="ADAL" clId="{6F85FD32-3D88-4D3B-BA1A-EBEFA353B2D9}" dt="2022-02-11T16:53:20.366" v="4363" actId="5793"/>
          <ac:spMkLst>
            <pc:docMk/>
            <pc:sldMk cId="1982478519" sldId="264"/>
            <ac:spMk id="14" creationId="{00000000-0000-0000-0000-000000000000}"/>
          </ac:spMkLst>
        </pc:spChg>
        <pc:spChg chg="mod">
          <ac:chgData name="Golagani, Kavitha Lakshmi" userId="286371a6-a14f-4b36-8dbf-ac1e3f5a140d" providerId="ADAL" clId="{6F85FD32-3D88-4D3B-BA1A-EBEFA353B2D9}" dt="2022-02-11T16:53:05.268" v="4353" actId="20577"/>
          <ac:spMkLst>
            <pc:docMk/>
            <pc:sldMk cId="1982478519" sldId="264"/>
            <ac:spMk id="35" creationId="{00000000-0000-0000-0000-000000000000}"/>
          </ac:spMkLst>
        </pc:spChg>
        <pc:graphicFrameChg chg="del">
          <ac:chgData name="Golagani, Kavitha Lakshmi" userId="286371a6-a14f-4b36-8dbf-ac1e3f5a140d" providerId="ADAL" clId="{6F85FD32-3D88-4D3B-BA1A-EBEFA353B2D9}" dt="2022-02-11T15:08:38.333" v="2525" actId="478"/>
          <ac:graphicFrameMkLst>
            <pc:docMk/>
            <pc:sldMk cId="1982478519" sldId="264"/>
            <ac:graphicFrameMk id="3" creationId="{00000000-0000-0000-0000-000000000000}"/>
          </ac:graphicFrameMkLst>
        </pc:graphicFrameChg>
      </pc:sldChg>
      <pc:sldChg chg="modSp mod ord">
        <pc:chgData name="Golagani, Kavitha Lakshmi" userId="286371a6-a14f-4b36-8dbf-ac1e3f5a140d" providerId="ADAL" clId="{6F85FD32-3D88-4D3B-BA1A-EBEFA353B2D9}" dt="2022-02-11T18:22:17.212" v="4636"/>
        <pc:sldMkLst>
          <pc:docMk/>
          <pc:sldMk cId="3101820707" sldId="265"/>
        </pc:sldMkLst>
        <pc:spChg chg="mod">
          <ac:chgData name="Golagani, Kavitha Lakshmi" userId="286371a6-a14f-4b36-8dbf-ac1e3f5a140d" providerId="ADAL" clId="{6F85FD32-3D88-4D3B-BA1A-EBEFA353B2D9}" dt="2022-02-11T15:08:59.663" v="2531" actId="20577"/>
          <ac:spMkLst>
            <pc:docMk/>
            <pc:sldMk cId="3101820707" sldId="265"/>
            <ac:spMk id="15" creationId="{00000000-0000-0000-0000-000000000000}"/>
          </ac:spMkLst>
        </pc:spChg>
      </pc:sldChg>
      <pc:sldChg chg="modSp mod">
        <pc:chgData name="Golagani, Kavitha Lakshmi" userId="286371a6-a14f-4b36-8dbf-ac1e3f5a140d" providerId="ADAL" clId="{6F85FD32-3D88-4D3B-BA1A-EBEFA353B2D9}" dt="2022-02-11T18:24:29.924" v="4812" actId="14100"/>
        <pc:sldMkLst>
          <pc:docMk/>
          <pc:sldMk cId="2374221036" sldId="266"/>
        </pc:sldMkLst>
        <pc:spChg chg="mod">
          <ac:chgData name="Golagani, Kavitha Lakshmi" userId="286371a6-a14f-4b36-8dbf-ac1e3f5a140d" providerId="ADAL" clId="{6F85FD32-3D88-4D3B-BA1A-EBEFA353B2D9}" dt="2022-02-11T16:10:21.057" v="3995" actId="20577"/>
          <ac:spMkLst>
            <pc:docMk/>
            <pc:sldMk cId="2374221036" sldId="266"/>
            <ac:spMk id="11" creationId="{00000000-0000-0000-0000-000000000000}"/>
          </ac:spMkLst>
        </pc:spChg>
        <pc:graphicFrameChg chg="mod modGraphic">
          <ac:chgData name="Golagani, Kavitha Lakshmi" userId="286371a6-a14f-4b36-8dbf-ac1e3f5a140d" providerId="ADAL" clId="{6F85FD32-3D88-4D3B-BA1A-EBEFA353B2D9}" dt="2022-02-11T18:24:29.924" v="4812" actId="14100"/>
          <ac:graphicFrameMkLst>
            <pc:docMk/>
            <pc:sldMk cId="2374221036" sldId="266"/>
            <ac:graphicFrameMk id="13" creationId="{00000000-0000-0000-0000-000000000000}"/>
          </ac:graphicFrameMkLst>
        </pc:graphicFrameChg>
      </pc:sldChg>
      <pc:sldChg chg="modSp mod ord">
        <pc:chgData name="Golagani, Kavitha Lakshmi" userId="286371a6-a14f-4b36-8dbf-ac1e3f5a140d" providerId="ADAL" clId="{6F85FD32-3D88-4D3B-BA1A-EBEFA353B2D9}" dt="2022-02-11T18:24:42.434" v="4814"/>
        <pc:sldMkLst>
          <pc:docMk/>
          <pc:sldMk cId="3111070206" sldId="267"/>
        </pc:sldMkLst>
        <pc:spChg chg="mod">
          <ac:chgData name="Golagani, Kavitha Lakshmi" userId="286371a6-a14f-4b36-8dbf-ac1e3f5a140d" providerId="ADAL" clId="{6F85FD32-3D88-4D3B-BA1A-EBEFA353B2D9}" dt="2022-02-11T17:18:17.462" v="4580" actId="27636"/>
          <ac:spMkLst>
            <pc:docMk/>
            <pc:sldMk cId="3111070206" sldId="267"/>
            <ac:spMk id="10" creationId="{00000000-0000-0000-0000-000000000000}"/>
          </ac:spMkLst>
        </pc:spChg>
        <pc:spChg chg="mod">
          <ac:chgData name="Golagani, Kavitha Lakshmi" userId="286371a6-a14f-4b36-8dbf-ac1e3f5a140d" providerId="ADAL" clId="{6F85FD32-3D88-4D3B-BA1A-EBEFA353B2D9}" dt="2022-02-11T15:22:01.163" v="3336" actId="6549"/>
          <ac:spMkLst>
            <pc:docMk/>
            <pc:sldMk cId="3111070206" sldId="267"/>
            <ac:spMk id="13" creationId="{00000000-0000-0000-0000-000000000000}"/>
          </ac:spMkLst>
        </pc:spChg>
      </pc:sldChg>
      <pc:sldChg chg="del">
        <pc:chgData name="Golagani, Kavitha Lakshmi" userId="286371a6-a14f-4b36-8dbf-ac1e3f5a140d" providerId="ADAL" clId="{6F85FD32-3D88-4D3B-BA1A-EBEFA353B2D9}" dt="2022-02-11T07:01:52.004" v="189" actId="47"/>
        <pc:sldMkLst>
          <pc:docMk/>
          <pc:sldMk cId="1241172737" sldId="268"/>
        </pc:sldMkLst>
      </pc:sldChg>
      <pc:sldChg chg="addSp delSp modSp del mod">
        <pc:chgData name="Golagani, Kavitha Lakshmi" userId="286371a6-a14f-4b36-8dbf-ac1e3f5a140d" providerId="ADAL" clId="{6F85FD32-3D88-4D3B-BA1A-EBEFA353B2D9}" dt="2022-02-11T17:00:43.290" v="4451" actId="2696"/>
        <pc:sldMkLst>
          <pc:docMk/>
          <pc:sldMk cId="238739057" sldId="269"/>
        </pc:sldMkLst>
        <pc:spChg chg="add del">
          <ac:chgData name="Golagani, Kavitha Lakshmi" userId="286371a6-a14f-4b36-8dbf-ac1e3f5a140d" providerId="ADAL" clId="{6F85FD32-3D88-4D3B-BA1A-EBEFA353B2D9}" dt="2022-02-11T15:31:14.812" v="3361" actId="21"/>
          <ac:spMkLst>
            <pc:docMk/>
            <pc:sldMk cId="238739057" sldId="269"/>
            <ac:spMk id="4" creationId="{00000000-0000-0000-0000-000000000000}"/>
          </ac:spMkLst>
        </pc:spChg>
        <pc:spChg chg="add del mod">
          <ac:chgData name="Golagani, Kavitha Lakshmi" userId="286371a6-a14f-4b36-8dbf-ac1e3f5a140d" providerId="ADAL" clId="{6F85FD32-3D88-4D3B-BA1A-EBEFA353B2D9}" dt="2022-02-11T15:31:14.812" v="3361" actId="21"/>
          <ac:spMkLst>
            <pc:docMk/>
            <pc:sldMk cId="238739057" sldId="269"/>
            <ac:spMk id="6" creationId="{6C0C13E7-4082-418E-910E-E0D2E7992CB0}"/>
          </ac:spMkLst>
        </pc:spChg>
        <pc:spChg chg="mod">
          <ac:chgData name="Golagani, Kavitha Lakshmi" userId="286371a6-a14f-4b36-8dbf-ac1e3f5a140d" providerId="ADAL" clId="{6F85FD32-3D88-4D3B-BA1A-EBEFA353B2D9}" dt="2022-02-11T15:30:09.084" v="3350" actId="14100"/>
          <ac:spMkLst>
            <pc:docMk/>
            <pc:sldMk cId="238739057" sldId="269"/>
            <ac:spMk id="16" creationId="{00000000-0000-0000-0000-000000000000}"/>
          </ac:spMkLst>
        </pc:spChg>
        <pc:spChg chg="mod">
          <ac:chgData name="Golagani, Kavitha Lakshmi" userId="286371a6-a14f-4b36-8dbf-ac1e3f5a140d" providerId="ADAL" clId="{6F85FD32-3D88-4D3B-BA1A-EBEFA353B2D9}" dt="2022-02-11T15:30:05.183" v="3349" actId="14100"/>
          <ac:spMkLst>
            <pc:docMk/>
            <pc:sldMk cId="238739057" sldId="269"/>
            <ac:spMk id="17" creationId="{00000000-0000-0000-0000-000000000000}"/>
          </ac:spMkLst>
        </pc:spChg>
        <pc:grpChg chg="mod">
          <ac:chgData name="Golagani, Kavitha Lakshmi" userId="286371a6-a14f-4b36-8dbf-ac1e3f5a140d" providerId="ADAL" clId="{6F85FD32-3D88-4D3B-BA1A-EBEFA353B2D9}" dt="2022-02-11T15:30:01.822" v="3348" actId="14100"/>
          <ac:grpSpMkLst>
            <pc:docMk/>
            <pc:sldMk cId="238739057" sldId="269"/>
            <ac:grpSpMk id="15" creationId="{00000000-0000-0000-0000-000000000000}"/>
          </ac:grpSpMkLst>
        </pc:grpChg>
        <pc:graphicFrameChg chg="del mod">
          <ac:chgData name="Golagani, Kavitha Lakshmi" userId="286371a6-a14f-4b36-8dbf-ac1e3f5a140d" providerId="ADAL" clId="{6F85FD32-3D88-4D3B-BA1A-EBEFA353B2D9}" dt="2022-02-11T15:29:57.159" v="3346" actId="478"/>
          <ac:graphicFrameMkLst>
            <pc:docMk/>
            <pc:sldMk cId="238739057" sldId="269"/>
            <ac:graphicFrameMk id="3" creationId="{00000000-0000-0000-0000-000000000000}"/>
          </ac:graphicFrameMkLst>
        </pc:graphicFrameChg>
        <pc:cxnChg chg="add del mod">
          <ac:chgData name="Golagani, Kavitha Lakshmi" userId="286371a6-a14f-4b36-8dbf-ac1e3f5a140d" providerId="ADAL" clId="{6F85FD32-3D88-4D3B-BA1A-EBEFA353B2D9}" dt="2022-02-11T15:30:16.680" v="3352"/>
          <ac:cxnSpMkLst>
            <pc:docMk/>
            <pc:sldMk cId="238739057" sldId="269"/>
            <ac:cxnSpMk id="8" creationId="{19D996D2-2D1D-41F1-8EEA-7398F8738234}"/>
          </ac:cxnSpMkLst>
        </pc:cxnChg>
      </pc:sldChg>
      <pc:sldChg chg="modSp mod">
        <pc:chgData name="Golagani, Kavitha Lakshmi" userId="286371a6-a14f-4b36-8dbf-ac1e3f5a140d" providerId="ADAL" clId="{6F85FD32-3D88-4D3B-BA1A-EBEFA353B2D9}" dt="2022-02-11T15:22:31.634" v="3344" actId="6549"/>
        <pc:sldMkLst>
          <pc:docMk/>
          <pc:sldMk cId="3942630544" sldId="270"/>
        </pc:sldMkLst>
        <pc:spChg chg="mod">
          <ac:chgData name="Golagani, Kavitha Lakshmi" userId="286371a6-a14f-4b36-8dbf-ac1e3f5a140d" providerId="ADAL" clId="{6F85FD32-3D88-4D3B-BA1A-EBEFA353B2D9}" dt="2022-02-11T15:22:31.634" v="3344" actId="6549"/>
          <ac:spMkLst>
            <pc:docMk/>
            <pc:sldMk cId="3942630544" sldId="270"/>
            <ac:spMk id="15" creationId="{00000000-0000-0000-0000-000000000000}"/>
          </ac:spMkLst>
        </pc:spChg>
      </pc:sldChg>
      <pc:sldChg chg="addSp delSp modSp mod ord">
        <pc:chgData name="Golagani, Kavitha Lakshmi" userId="286371a6-a14f-4b36-8dbf-ac1e3f5a140d" providerId="ADAL" clId="{6F85FD32-3D88-4D3B-BA1A-EBEFA353B2D9}" dt="2022-02-11T07:06:12.845" v="271"/>
        <pc:sldMkLst>
          <pc:docMk/>
          <pc:sldMk cId="4020947906" sldId="271"/>
        </pc:sldMkLst>
        <pc:spChg chg="mod">
          <ac:chgData name="Golagani, Kavitha Lakshmi" userId="286371a6-a14f-4b36-8dbf-ac1e3f5a140d" providerId="ADAL" clId="{6F85FD32-3D88-4D3B-BA1A-EBEFA353B2D9}" dt="2022-02-11T07:03:46.534" v="192" actId="6549"/>
          <ac:spMkLst>
            <pc:docMk/>
            <pc:sldMk cId="4020947906" sldId="271"/>
            <ac:spMk id="29" creationId="{00000000-0000-0000-0000-000000000000}"/>
          </ac:spMkLst>
        </pc:spChg>
        <pc:spChg chg="del">
          <ac:chgData name="Golagani, Kavitha Lakshmi" userId="286371a6-a14f-4b36-8dbf-ac1e3f5a140d" providerId="ADAL" clId="{6F85FD32-3D88-4D3B-BA1A-EBEFA353B2D9}" dt="2022-02-11T07:03:56.091" v="194" actId="478"/>
          <ac:spMkLst>
            <pc:docMk/>
            <pc:sldMk cId="4020947906" sldId="271"/>
            <ac:spMk id="42" creationId="{00000000-0000-0000-0000-000000000000}"/>
          </ac:spMkLst>
        </pc:spChg>
        <pc:grpChg chg="del">
          <ac:chgData name="Golagani, Kavitha Lakshmi" userId="286371a6-a14f-4b36-8dbf-ac1e3f5a140d" providerId="ADAL" clId="{6F85FD32-3D88-4D3B-BA1A-EBEFA353B2D9}" dt="2022-02-11T07:03:52.241" v="193" actId="478"/>
          <ac:grpSpMkLst>
            <pc:docMk/>
            <pc:sldMk cId="4020947906" sldId="271"/>
            <ac:grpSpMk id="3" creationId="{00000000-0000-0000-0000-000000000000}"/>
          </ac:grpSpMkLst>
        </pc:grpChg>
        <pc:grpChg chg="del">
          <ac:chgData name="Golagani, Kavitha Lakshmi" userId="286371a6-a14f-4b36-8dbf-ac1e3f5a140d" providerId="ADAL" clId="{6F85FD32-3D88-4D3B-BA1A-EBEFA353B2D9}" dt="2022-02-11T07:03:59.539" v="195" actId="478"/>
          <ac:grpSpMkLst>
            <pc:docMk/>
            <pc:sldMk cId="4020947906" sldId="271"/>
            <ac:grpSpMk id="5" creationId="{00000000-0000-0000-0000-000000000000}"/>
          </ac:grpSpMkLst>
        </pc:grpChg>
        <pc:grpChg chg="add del">
          <ac:chgData name="Golagani, Kavitha Lakshmi" userId="286371a6-a14f-4b36-8dbf-ac1e3f5a140d" providerId="ADAL" clId="{6F85FD32-3D88-4D3B-BA1A-EBEFA353B2D9}" dt="2022-02-11T07:03:42.226" v="191" actId="478"/>
          <ac:grpSpMkLst>
            <pc:docMk/>
            <pc:sldMk cId="4020947906" sldId="271"/>
            <ac:grpSpMk id="41" creationId="{00000000-0000-0000-0000-000000000000}"/>
          </ac:grpSpMkLst>
        </pc:grpChg>
      </pc:sldChg>
      <pc:sldChg chg="delSp modSp mod">
        <pc:chgData name="Golagani, Kavitha Lakshmi" userId="286371a6-a14f-4b36-8dbf-ac1e3f5a140d" providerId="ADAL" clId="{6F85FD32-3D88-4D3B-BA1A-EBEFA353B2D9}" dt="2022-02-11T16:15:08.906" v="4117" actId="20577"/>
        <pc:sldMkLst>
          <pc:docMk/>
          <pc:sldMk cId="3153977306" sldId="272"/>
        </pc:sldMkLst>
        <pc:spChg chg="del mod">
          <ac:chgData name="Golagani, Kavitha Lakshmi" userId="286371a6-a14f-4b36-8dbf-ac1e3f5a140d" providerId="ADAL" clId="{6F85FD32-3D88-4D3B-BA1A-EBEFA353B2D9}" dt="2022-02-11T15:21:51.342" v="3335" actId="478"/>
          <ac:spMkLst>
            <pc:docMk/>
            <pc:sldMk cId="3153977306" sldId="272"/>
            <ac:spMk id="3" creationId="{00000000-0000-0000-0000-000000000000}"/>
          </ac:spMkLst>
        </pc:spChg>
        <pc:spChg chg="mod">
          <ac:chgData name="Golagani, Kavitha Lakshmi" userId="286371a6-a14f-4b36-8dbf-ac1e3f5a140d" providerId="ADAL" clId="{6F85FD32-3D88-4D3B-BA1A-EBEFA353B2D9}" dt="2022-02-11T16:15:08.906" v="4117" actId="20577"/>
          <ac:spMkLst>
            <pc:docMk/>
            <pc:sldMk cId="3153977306" sldId="272"/>
            <ac:spMk id="10" creationId="{00000000-0000-0000-0000-000000000000}"/>
          </ac:spMkLst>
        </pc:spChg>
        <pc:graphicFrameChg chg="mod">
          <ac:chgData name="Golagani, Kavitha Lakshmi" userId="286371a6-a14f-4b36-8dbf-ac1e3f5a140d" providerId="ADAL" clId="{6F85FD32-3D88-4D3B-BA1A-EBEFA353B2D9}" dt="2022-02-11T15:21:44.809" v="3333" actId="478"/>
          <ac:graphicFrameMkLst>
            <pc:docMk/>
            <pc:sldMk cId="3153977306" sldId="272"/>
            <ac:graphicFrameMk id="5" creationId="{00000000-0000-0000-0000-000000000000}"/>
          </ac:graphicFrameMkLst>
        </pc:graphicFrameChg>
      </pc:sldChg>
      <pc:sldChg chg="delSp modSp mod ord">
        <pc:chgData name="Golagani, Kavitha Lakshmi" userId="286371a6-a14f-4b36-8dbf-ac1e3f5a140d" providerId="ADAL" clId="{6F85FD32-3D88-4D3B-BA1A-EBEFA353B2D9}" dt="2022-02-11T07:06:17.216" v="273"/>
        <pc:sldMkLst>
          <pc:docMk/>
          <pc:sldMk cId="3282526291" sldId="273"/>
        </pc:sldMkLst>
        <pc:spChg chg="mod">
          <ac:chgData name="Golagani, Kavitha Lakshmi" userId="286371a6-a14f-4b36-8dbf-ac1e3f5a140d" providerId="ADAL" clId="{6F85FD32-3D88-4D3B-BA1A-EBEFA353B2D9}" dt="2022-02-11T07:04:34.941" v="199" actId="1076"/>
          <ac:spMkLst>
            <pc:docMk/>
            <pc:sldMk cId="3282526291" sldId="273"/>
            <ac:spMk id="5" creationId="{00000000-0000-0000-0000-000000000000}"/>
          </ac:spMkLst>
        </pc:spChg>
        <pc:spChg chg="del">
          <ac:chgData name="Golagani, Kavitha Lakshmi" userId="286371a6-a14f-4b36-8dbf-ac1e3f5a140d" providerId="ADAL" clId="{6F85FD32-3D88-4D3B-BA1A-EBEFA353B2D9}" dt="2022-02-11T07:04:42.646" v="200" actId="478"/>
          <ac:spMkLst>
            <pc:docMk/>
            <pc:sldMk cId="3282526291" sldId="273"/>
            <ac:spMk id="6" creationId="{00000000-0000-0000-0000-000000000000}"/>
          </ac:spMkLst>
        </pc:spChg>
        <pc:spChg chg="del">
          <ac:chgData name="Golagani, Kavitha Lakshmi" userId="286371a6-a14f-4b36-8dbf-ac1e3f5a140d" providerId="ADAL" clId="{6F85FD32-3D88-4D3B-BA1A-EBEFA353B2D9}" dt="2022-02-11T07:04:42.646" v="200" actId="478"/>
          <ac:spMkLst>
            <pc:docMk/>
            <pc:sldMk cId="3282526291" sldId="273"/>
            <ac:spMk id="7" creationId="{00000000-0000-0000-0000-000000000000}"/>
          </ac:spMkLst>
        </pc:spChg>
        <pc:spChg chg="del">
          <ac:chgData name="Golagani, Kavitha Lakshmi" userId="286371a6-a14f-4b36-8dbf-ac1e3f5a140d" providerId="ADAL" clId="{6F85FD32-3D88-4D3B-BA1A-EBEFA353B2D9}" dt="2022-02-11T07:04:42.646" v="200" actId="478"/>
          <ac:spMkLst>
            <pc:docMk/>
            <pc:sldMk cId="3282526291" sldId="273"/>
            <ac:spMk id="9" creationId="{00000000-0000-0000-0000-000000000000}"/>
          </ac:spMkLst>
        </pc:spChg>
        <pc:spChg chg="del">
          <ac:chgData name="Golagani, Kavitha Lakshmi" userId="286371a6-a14f-4b36-8dbf-ac1e3f5a140d" providerId="ADAL" clId="{6F85FD32-3D88-4D3B-BA1A-EBEFA353B2D9}" dt="2022-02-11T07:04:42.646" v="200" actId="478"/>
          <ac:spMkLst>
            <pc:docMk/>
            <pc:sldMk cId="3282526291" sldId="273"/>
            <ac:spMk id="10" creationId="{00000000-0000-0000-0000-000000000000}"/>
          </ac:spMkLst>
        </pc:spChg>
        <pc:spChg chg="del">
          <ac:chgData name="Golagani, Kavitha Lakshmi" userId="286371a6-a14f-4b36-8dbf-ac1e3f5a140d" providerId="ADAL" clId="{6F85FD32-3D88-4D3B-BA1A-EBEFA353B2D9}" dt="2022-02-11T07:04:42.646" v="200" actId="478"/>
          <ac:spMkLst>
            <pc:docMk/>
            <pc:sldMk cId="3282526291" sldId="273"/>
            <ac:spMk id="13" creationId="{00000000-0000-0000-0000-000000000000}"/>
          </ac:spMkLst>
        </pc:spChg>
        <pc:spChg chg="del">
          <ac:chgData name="Golagani, Kavitha Lakshmi" userId="286371a6-a14f-4b36-8dbf-ac1e3f5a140d" providerId="ADAL" clId="{6F85FD32-3D88-4D3B-BA1A-EBEFA353B2D9}" dt="2022-02-11T07:04:42.646" v="200" actId="478"/>
          <ac:spMkLst>
            <pc:docMk/>
            <pc:sldMk cId="3282526291" sldId="273"/>
            <ac:spMk id="14" creationId="{00000000-0000-0000-0000-000000000000}"/>
          </ac:spMkLst>
        </pc:spChg>
        <pc:spChg chg="del">
          <ac:chgData name="Golagani, Kavitha Lakshmi" userId="286371a6-a14f-4b36-8dbf-ac1e3f5a140d" providerId="ADAL" clId="{6F85FD32-3D88-4D3B-BA1A-EBEFA353B2D9}" dt="2022-02-11T07:04:42.646" v="200" actId="478"/>
          <ac:spMkLst>
            <pc:docMk/>
            <pc:sldMk cId="3282526291" sldId="273"/>
            <ac:spMk id="15" creationId="{00000000-0000-0000-0000-000000000000}"/>
          </ac:spMkLst>
        </pc:spChg>
        <pc:spChg chg="del">
          <ac:chgData name="Golagani, Kavitha Lakshmi" userId="286371a6-a14f-4b36-8dbf-ac1e3f5a140d" providerId="ADAL" clId="{6F85FD32-3D88-4D3B-BA1A-EBEFA353B2D9}" dt="2022-02-11T07:04:25.084" v="198" actId="478"/>
          <ac:spMkLst>
            <pc:docMk/>
            <pc:sldMk cId="3282526291" sldId="273"/>
            <ac:spMk id="16" creationId="{00000000-0000-0000-0000-000000000000}"/>
          </ac:spMkLst>
        </pc:spChg>
        <pc:spChg chg="del">
          <ac:chgData name="Golagani, Kavitha Lakshmi" userId="286371a6-a14f-4b36-8dbf-ac1e3f5a140d" providerId="ADAL" clId="{6F85FD32-3D88-4D3B-BA1A-EBEFA353B2D9}" dt="2022-02-11T07:04:42.646" v="200" actId="478"/>
          <ac:spMkLst>
            <pc:docMk/>
            <pc:sldMk cId="3282526291" sldId="273"/>
            <ac:spMk id="18" creationId="{00000000-0000-0000-0000-000000000000}"/>
          </ac:spMkLst>
        </pc:spChg>
        <pc:spChg chg="del">
          <ac:chgData name="Golagani, Kavitha Lakshmi" userId="286371a6-a14f-4b36-8dbf-ac1e3f5a140d" providerId="ADAL" clId="{6F85FD32-3D88-4D3B-BA1A-EBEFA353B2D9}" dt="2022-02-11T07:04:25.084" v="198" actId="478"/>
          <ac:spMkLst>
            <pc:docMk/>
            <pc:sldMk cId="3282526291" sldId="273"/>
            <ac:spMk id="19" creationId="{00000000-0000-0000-0000-000000000000}"/>
          </ac:spMkLst>
        </pc:spChg>
        <pc:spChg chg="del">
          <ac:chgData name="Golagani, Kavitha Lakshmi" userId="286371a6-a14f-4b36-8dbf-ac1e3f5a140d" providerId="ADAL" clId="{6F85FD32-3D88-4D3B-BA1A-EBEFA353B2D9}" dt="2022-02-11T07:04:42.646" v="200" actId="478"/>
          <ac:spMkLst>
            <pc:docMk/>
            <pc:sldMk cId="3282526291" sldId="273"/>
            <ac:spMk id="23" creationId="{00000000-0000-0000-0000-000000000000}"/>
          </ac:spMkLst>
        </pc:spChg>
        <pc:spChg chg="del">
          <ac:chgData name="Golagani, Kavitha Lakshmi" userId="286371a6-a14f-4b36-8dbf-ac1e3f5a140d" providerId="ADAL" clId="{6F85FD32-3D88-4D3B-BA1A-EBEFA353B2D9}" dt="2022-02-11T07:04:42.646" v="200" actId="478"/>
          <ac:spMkLst>
            <pc:docMk/>
            <pc:sldMk cId="3282526291" sldId="273"/>
            <ac:spMk id="24" creationId="{00000000-0000-0000-0000-000000000000}"/>
          </ac:spMkLst>
        </pc:spChg>
        <pc:spChg chg="del">
          <ac:chgData name="Golagani, Kavitha Lakshmi" userId="286371a6-a14f-4b36-8dbf-ac1e3f5a140d" providerId="ADAL" clId="{6F85FD32-3D88-4D3B-BA1A-EBEFA353B2D9}" dt="2022-02-11T07:04:47.289" v="201" actId="478"/>
          <ac:spMkLst>
            <pc:docMk/>
            <pc:sldMk cId="3282526291" sldId="273"/>
            <ac:spMk id="28" creationId="{00000000-0000-0000-0000-000000000000}"/>
          </ac:spMkLst>
        </pc:spChg>
        <pc:spChg chg="del">
          <ac:chgData name="Golagani, Kavitha Lakshmi" userId="286371a6-a14f-4b36-8dbf-ac1e3f5a140d" providerId="ADAL" clId="{6F85FD32-3D88-4D3B-BA1A-EBEFA353B2D9}" dt="2022-02-11T07:04:54.150" v="203" actId="478"/>
          <ac:spMkLst>
            <pc:docMk/>
            <pc:sldMk cId="3282526291" sldId="273"/>
            <ac:spMk id="29" creationId="{00000000-0000-0000-0000-000000000000}"/>
          </ac:spMkLst>
        </pc:spChg>
        <pc:spChg chg="del">
          <ac:chgData name="Golagani, Kavitha Lakshmi" userId="286371a6-a14f-4b36-8dbf-ac1e3f5a140d" providerId="ADAL" clId="{6F85FD32-3D88-4D3B-BA1A-EBEFA353B2D9}" dt="2022-02-11T07:04:50.735" v="202" actId="478"/>
          <ac:spMkLst>
            <pc:docMk/>
            <pc:sldMk cId="3282526291" sldId="273"/>
            <ac:spMk id="33" creationId="{00000000-0000-0000-0000-000000000000}"/>
          </ac:spMkLst>
        </pc:spChg>
        <pc:spChg chg="del">
          <ac:chgData name="Golagani, Kavitha Lakshmi" userId="286371a6-a14f-4b36-8dbf-ac1e3f5a140d" providerId="ADAL" clId="{6F85FD32-3D88-4D3B-BA1A-EBEFA353B2D9}" dt="2022-02-11T07:04:42.646" v="200" actId="478"/>
          <ac:spMkLst>
            <pc:docMk/>
            <pc:sldMk cId="3282526291" sldId="273"/>
            <ac:spMk id="37" creationId="{00000000-0000-0000-0000-000000000000}"/>
          </ac:spMkLst>
        </pc:spChg>
        <pc:spChg chg="del">
          <ac:chgData name="Golagani, Kavitha Lakshmi" userId="286371a6-a14f-4b36-8dbf-ac1e3f5a140d" providerId="ADAL" clId="{6F85FD32-3D88-4D3B-BA1A-EBEFA353B2D9}" dt="2022-02-11T07:04:42.646" v="200" actId="478"/>
          <ac:spMkLst>
            <pc:docMk/>
            <pc:sldMk cId="3282526291" sldId="273"/>
            <ac:spMk id="38" creationId="{00000000-0000-0000-0000-000000000000}"/>
          </ac:spMkLst>
        </pc:spChg>
        <pc:spChg chg="del">
          <ac:chgData name="Golagani, Kavitha Lakshmi" userId="286371a6-a14f-4b36-8dbf-ac1e3f5a140d" providerId="ADAL" clId="{6F85FD32-3D88-4D3B-BA1A-EBEFA353B2D9}" dt="2022-02-11T07:04:42.646" v="200" actId="478"/>
          <ac:spMkLst>
            <pc:docMk/>
            <pc:sldMk cId="3282526291" sldId="273"/>
            <ac:spMk id="39" creationId="{00000000-0000-0000-0000-000000000000}"/>
          </ac:spMkLst>
        </pc:spChg>
        <pc:spChg chg="del">
          <ac:chgData name="Golagani, Kavitha Lakshmi" userId="286371a6-a14f-4b36-8dbf-ac1e3f5a140d" providerId="ADAL" clId="{6F85FD32-3D88-4D3B-BA1A-EBEFA353B2D9}" dt="2022-02-11T07:04:42.646" v="200" actId="478"/>
          <ac:spMkLst>
            <pc:docMk/>
            <pc:sldMk cId="3282526291" sldId="273"/>
            <ac:spMk id="42" creationId="{00000000-0000-0000-0000-000000000000}"/>
          </ac:spMkLst>
        </pc:spChg>
        <pc:grpChg chg="mod">
          <ac:chgData name="Golagani, Kavitha Lakshmi" userId="286371a6-a14f-4b36-8dbf-ac1e3f5a140d" providerId="ADAL" clId="{6F85FD32-3D88-4D3B-BA1A-EBEFA353B2D9}" dt="2022-02-11T07:05:13.902" v="206" actId="14100"/>
          <ac:grpSpMkLst>
            <pc:docMk/>
            <pc:sldMk cId="3282526291" sldId="273"/>
            <ac:grpSpMk id="44" creationId="{00000000-0000-0000-0000-000000000000}"/>
          </ac:grpSpMkLst>
        </pc:grpChg>
        <pc:cxnChg chg="del mod">
          <ac:chgData name="Golagani, Kavitha Lakshmi" userId="286371a6-a14f-4b36-8dbf-ac1e3f5a140d" providerId="ADAL" clId="{6F85FD32-3D88-4D3B-BA1A-EBEFA353B2D9}" dt="2022-02-11T07:04:42.646" v="200" actId="478"/>
          <ac:cxnSpMkLst>
            <pc:docMk/>
            <pc:sldMk cId="3282526291" sldId="273"/>
            <ac:cxnSpMk id="8" creationId="{00000000-0000-0000-0000-000000000000}"/>
          </ac:cxnSpMkLst>
        </pc:cxnChg>
        <pc:cxnChg chg="del">
          <ac:chgData name="Golagani, Kavitha Lakshmi" userId="286371a6-a14f-4b36-8dbf-ac1e3f5a140d" providerId="ADAL" clId="{6F85FD32-3D88-4D3B-BA1A-EBEFA353B2D9}" dt="2022-02-11T07:04:42.646" v="200" actId="478"/>
          <ac:cxnSpMkLst>
            <pc:docMk/>
            <pc:sldMk cId="3282526291" sldId="273"/>
            <ac:cxnSpMk id="11" creationId="{00000000-0000-0000-0000-000000000000}"/>
          </ac:cxnSpMkLst>
        </pc:cxnChg>
        <pc:cxnChg chg="del mod">
          <ac:chgData name="Golagani, Kavitha Lakshmi" userId="286371a6-a14f-4b36-8dbf-ac1e3f5a140d" providerId="ADAL" clId="{6F85FD32-3D88-4D3B-BA1A-EBEFA353B2D9}" dt="2022-02-11T07:04:42.646" v="200" actId="478"/>
          <ac:cxnSpMkLst>
            <pc:docMk/>
            <pc:sldMk cId="3282526291" sldId="273"/>
            <ac:cxnSpMk id="12" creationId="{00000000-0000-0000-0000-000000000000}"/>
          </ac:cxnSpMkLst>
        </pc:cxnChg>
        <pc:cxnChg chg="del mod">
          <ac:chgData name="Golagani, Kavitha Lakshmi" userId="286371a6-a14f-4b36-8dbf-ac1e3f5a140d" providerId="ADAL" clId="{6F85FD32-3D88-4D3B-BA1A-EBEFA353B2D9}" dt="2022-02-11T07:04:42.646" v="200" actId="478"/>
          <ac:cxnSpMkLst>
            <pc:docMk/>
            <pc:sldMk cId="3282526291" sldId="273"/>
            <ac:cxnSpMk id="17" creationId="{00000000-0000-0000-0000-000000000000}"/>
          </ac:cxnSpMkLst>
        </pc:cxnChg>
        <pc:cxnChg chg="del mod">
          <ac:chgData name="Golagani, Kavitha Lakshmi" userId="286371a6-a14f-4b36-8dbf-ac1e3f5a140d" providerId="ADAL" clId="{6F85FD32-3D88-4D3B-BA1A-EBEFA353B2D9}" dt="2022-02-11T07:04:42.646" v="200" actId="478"/>
          <ac:cxnSpMkLst>
            <pc:docMk/>
            <pc:sldMk cId="3282526291" sldId="273"/>
            <ac:cxnSpMk id="20" creationId="{00000000-0000-0000-0000-000000000000}"/>
          </ac:cxnSpMkLst>
        </pc:cxnChg>
        <pc:cxnChg chg="del">
          <ac:chgData name="Golagani, Kavitha Lakshmi" userId="286371a6-a14f-4b36-8dbf-ac1e3f5a140d" providerId="ADAL" clId="{6F85FD32-3D88-4D3B-BA1A-EBEFA353B2D9}" dt="2022-02-11T07:04:42.646" v="200" actId="478"/>
          <ac:cxnSpMkLst>
            <pc:docMk/>
            <pc:sldMk cId="3282526291" sldId="273"/>
            <ac:cxnSpMk id="21" creationId="{00000000-0000-0000-0000-000000000000}"/>
          </ac:cxnSpMkLst>
        </pc:cxnChg>
        <pc:cxnChg chg="del mod">
          <ac:chgData name="Golagani, Kavitha Lakshmi" userId="286371a6-a14f-4b36-8dbf-ac1e3f5a140d" providerId="ADAL" clId="{6F85FD32-3D88-4D3B-BA1A-EBEFA353B2D9}" dt="2022-02-11T07:04:42.646" v="200" actId="478"/>
          <ac:cxnSpMkLst>
            <pc:docMk/>
            <pc:sldMk cId="3282526291" sldId="273"/>
            <ac:cxnSpMk id="22" creationId="{00000000-0000-0000-0000-000000000000}"/>
          </ac:cxnSpMkLst>
        </pc:cxnChg>
        <pc:cxnChg chg="del mod">
          <ac:chgData name="Golagani, Kavitha Lakshmi" userId="286371a6-a14f-4b36-8dbf-ac1e3f5a140d" providerId="ADAL" clId="{6F85FD32-3D88-4D3B-BA1A-EBEFA353B2D9}" dt="2022-02-11T07:04:42.646" v="200" actId="478"/>
          <ac:cxnSpMkLst>
            <pc:docMk/>
            <pc:sldMk cId="3282526291" sldId="273"/>
            <ac:cxnSpMk id="25" creationId="{00000000-0000-0000-0000-000000000000}"/>
          </ac:cxnSpMkLst>
        </pc:cxnChg>
        <pc:cxnChg chg="del mod">
          <ac:chgData name="Golagani, Kavitha Lakshmi" userId="286371a6-a14f-4b36-8dbf-ac1e3f5a140d" providerId="ADAL" clId="{6F85FD32-3D88-4D3B-BA1A-EBEFA353B2D9}" dt="2022-02-11T07:04:42.646" v="200" actId="478"/>
          <ac:cxnSpMkLst>
            <pc:docMk/>
            <pc:sldMk cId="3282526291" sldId="273"/>
            <ac:cxnSpMk id="26" creationId="{00000000-0000-0000-0000-000000000000}"/>
          </ac:cxnSpMkLst>
        </pc:cxnChg>
        <pc:cxnChg chg="del mod">
          <ac:chgData name="Golagani, Kavitha Lakshmi" userId="286371a6-a14f-4b36-8dbf-ac1e3f5a140d" providerId="ADAL" clId="{6F85FD32-3D88-4D3B-BA1A-EBEFA353B2D9}" dt="2022-02-11T07:04:42.646" v="200" actId="478"/>
          <ac:cxnSpMkLst>
            <pc:docMk/>
            <pc:sldMk cId="3282526291" sldId="273"/>
            <ac:cxnSpMk id="27" creationId="{00000000-0000-0000-0000-000000000000}"/>
          </ac:cxnSpMkLst>
        </pc:cxnChg>
        <pc:cxnChg chg="del mod">
          <ac:chgData name="Golagani, Kavitha Lakshmi" userId="286371a6-a14f-4b36-8dbf-ac1e3f5a140d" providerId="ADAL" clId="{6F85FD32-3D88-4D3B-BA1A-EBEFA353B2D9}" dt="2022-02-11T07:04:42.646" v="200" actId="478"/>
          <ac:cxnSpMkLst>
            <pc:docMk/>
            <pc:sldMk cId="3282526291" sldId="273"/>
            <ac:cxnSpMk id="30" creationId="{00000000-0000-0000-0000-000000000000}"/>
          </ac:cxnSpMkLst>
        </pc:cxnChg>
        <pc:cxnChg chg="del mod">
          <ac:chgData name="Golagani, Kavitha Lakshmi" userId="286371a6-a14f-4b36-8dbf-ac1e3f5a140d" providerId="ADAL" clId="{6F85FD32-3D88-4D3B-BA1A-EBEFA353B2D9}" dt="2022-02-11T07:04:42.646" v="200" actId="478"/>
          <ac:cxnSpMkLst>
            <pc:docMk/>
            <pc:sldMk cId="3282526291" sldId="273"/>
            <ac:cxnSpMk id="31" creationId="{00000000-0000-0000-0000-000000000000}"/>
          </ac:cxnSpMkLst>
        </pc:cxnChg>
        <pc:cxnChg chg="del mod">
          <ac:chgData name="Golagani, Kavitha Lakshmi" userId="286371a6-a14f-4b36-8dbf-ac1e3f5a140d" providerId="ADAL" clId="{6F85FD32-3D88-4D3B-BA1A-EBEFA353B2D9}" dt="2022-02-11T07:04:42.646" v="200" actId="478"/>
          <ac:cxnSpMkLst>
            <pc:docMk/>
            <pc:sldMk cId="3282526291" sldId="273"/>
            <ac:cxnSpMk id="35" creationId="{00000000-0000-0000-0000-000000000000}"/>
          </ac:cxnSpMkLst>
        </pc:cxnChg>
        <pc:cxnChg chg="del">
          <ac:chgData name="Golagani, Kavitha Lakshmi" userId="286371a6-a14f-4b36-8dbf-ac1e3f5a140d" providerId="ADAL" clId="{6F85FD32-3D88-4D3B-BA1A-EBEFA353B2D9}" dt="2022-02-11T07:04:42.646" v="200" actId="478"/>
          <ac:cxnSpMkLst>
            <pc:docMk/>
            <pc:sldMk cId="3282526291" sldId="273"/>
            <ac:cxnSpMk id="36" creationId="{00000000-0000-0000-0000-000000000000}"/>
          </ac:cxnSpMkLst>
        </pc:cxnChg>
        <pc:cxnChg chg="del">
          <ac:chgData name="Golagani, Kavitha Lakshmi" userId="286371a6-a14f-4b36-8dbf-ac1e3f5a140d" providerId="ADAL" clId="{6F85FD32-3D88-4D3B-BA1A-EBEFA353B2D9}" dt="2022-02-11T07:04:42.646" v="200" actId="478"/>
          <ac:cxnSpMkLst>
            <pc:docMk/>
            <pc:sldMk cId="3282526291" sldId="273"/>
            <ac:cxnSpMk id="40" creationId="{00000000-0000-0000-0000-000000000000}"/>
          </ac:cxnSpMkLst>
        </pc:cxnChg>
        <pc:cxnChg chg="del">
          <ac:chgData name="Golagani, Kavitha Lakshmi" userId="286371a6-a14f-4b36-8dbf-ac1e3f5a140d" providerId="ADAL" clId="{6F85FD32-3D88-4D3B-BA1A-EBEFA353B2D9}" dt="2022-02-11T07:04:42.646" v="200" actId="478"/>
          <ac:cxnSpMkLst>
            <pc:docMk/>
            <pc:sldMk cId="3282526291" sldId="273"/>
            <ac:cxnSpMk id="41" creationId="{00000000-0000-0000-0000-000000000000}"/>
          </ac:cxnSpMkLst>
        </pc:cxnChg>
      </pc:sldChg>
      <pc:sldChg chg="delSp modSp del mod">
        <pc:chgData name="Golagani, Kavitha Lakshmi" userId="286371a6-a14f-4b36-8dbf-ac1e3f5a140d" providerId="ADAL" clId="{6F85FD32-3D88-4D3B-BA1A-EBEFA353B2D9}" dt="2022-02-11T07:06:56.418" v="274" actId="2696"/>
        <pc:sldMkLst>
          <pc:docMk/>
          <pc:sldMk cId="600368209" sldId="275"/>
        </pc:sldMkLst>
        <pc:spChg chg="mod">
          <ac:chgData name="Golagani, Kavitha Lakshmi" userId="286371a6-a14f-4b36-8dbf-ac1e3f5a140d" providerId="ADAL" clId="{6F85FD32-3D88-4D3B-BA1A-EBEFA353B2D9}" dt="2022-02-11T07:06:01.277" v="267" actId="20577"/>
          <ac:spMkLst>
            <pc:docMk/>
            <pc:sldMk cId="600368209" sldId="275"/>
            <ac:spMk id="2" creationId="{00000000-0000-0000-0000-000000000000}"/>
          </ac:spMkLst>
        </pc:spChg>
        <pc:spChg chg="del mod">
          <ac:chgData name="Golagani, Kavitha Lakshmi" userId="286371a6-a14f-4b36-8dbf-ac1e3f5a140d" providerId="ADAL" clId="{6F85FD32-3D88-4D3B-BA1A-EBEFA353B2D9}" dt="2022-02-11T07:05:38.075" v="208" actId="478"/>
          <ac:spMkLst>
            <pc:docMk/>
            <pc:sldMk cId="600368209" sldId="275"/>
            <ac:spMk id="9" creationId="{00000000-0000-0000-0000-000000000000}"/>
          </ac:spMkLst>
        </pc:spChg>
        <pc:picChg chg="del">
          <ac:chgData name="Golagani, Kavitha Lakshmi" userId="286371a6-a14f-4b36-8dbf-ac1e3f5a140d" providerId="ADAL" clId="{6F85FD32-3D88-4D3B-BA1A-EBEFA353B2D9}" dt="2022-02-11T07:05:44.195" v="209" actId="478"/>
          <ac:picMkLst>
            <pc:docMk/>
            <pc:sldMk cId="600368209" sldId="275"/>
            <ac:picMk id="5" creationId="{00000000-0000-0000-0000-000000000000}"/>
          </ac:picMkLst>
        </pc:picChg>
      </pc:sldChg>
      <pc:sldChg chg="addSp delSp modSp add del mod setBg">
        <pc:chgData name="Golagani, Kavitha Lakshmi" userId="286371a6-a14f-4b36-8dbf-ac1e3f5a140d" providerId="ADAL" clId="{6F85FD32-3D88-4D3B-BA1A-EBEFA353B2D9}" dt="2022-02-11T18:25:13.954" v="4815" actId="2696"/>
        <pc:sldMkLst>
          <pc:docMk/>
          <pc:sldMk cId="3794814583" sldId="2147375612"/>
        </pc:sldMkLst>
        <pc:spChg chg="add del">
          <ac:chgData name="Golagani, Kavitha Lakshmi" userId="286371a6-a14f-4b36-8dbf-ac1e3f5a140d" providerId="ADAL" clId="{6F85FD32-3D88-4D3B-BA1A-EBEFA353B2D9}" dt="2022-02-11T15:31:14.429" v="3360" actId="478"/>
          <ac:spMkLst>
            <pc:docMk/>
            <pc:sldMk cId="3794814583" sldId="2147375612"/>
            <ac:spMk id="192" creationId="{C867C483-8108-4997-BD0D-AA5B71F1CE9A}"/>
          </ac:spMkLst>
        </pc:spChg>
        <pc:spChg chg="add del mod">
          <ac:chgData name="Golagani, Kavitha Lakshmi" userId="286371a6-a14f-4b36-8dbf-ac1e3f5a140d" providerId="ADAL" clId="{6F85FD32-3D88-4D3B-BA1A-EBEFA353B2D9}" dt="2022-02-11T15:31:14.045" v="3359"/>
          <ac:spMkLst>
            <pc:docMk/>
            <pc:sldMk cId="3794814583" sldId="2147375612"/>
            <ac:spMk id="193" creationId="{29724212-0095-415E-A7CC-5D9D978994E8}"/>
          </ac:spMkLst>
        </pc:spChg>
      </pc:sldChg>
      <pc:sldMasterChg chg="delSldLayout">
        <pc:chgData name="Golagani, Kavitha Lakshmi" userId="286371a6-a14f-4b36-8dbf-ac1e3f5a140d" providerId="ADAL" clId="{6F85FD32-3D88-4D3B-BA1A-EBEFA353B2D9}" dt="2022-02-11T18:25:13.954" v="4815" actId="2696"/>
        <pc:sldMasterMkLst>
          <pc:docMk/>
          <pc:sldMasterMk cId="904311712" sldId="2147483648"/>
        </pc:sldMasterMkLst>
        <pc:sldLayoutChg chg="del">
          <pc:chgData name="Golagani, Kavitha Lakshmi" userId="286371a6-a14f-4b36-8dbf-ac1e3f5a140d" providerId="ADAL" clId="{6F85FD32-3D88-4D3B-BA1A-EBEFA353B2D9}" dt="2022-02-11T18:25:13.954" v="4815" actId="2696"/>
          <pc:sldLayoutMkLst>
            <pc:docMk/>
            <pc:sldMasterMk cId="904311712" sldId="2147483648"/>
            <pc:sldLayoutMk cId="3775562835" sldId="2147483662"/>
          </pc:sldLayoutMkLst>
        </pc:sldLayoutChg>
      </pc:sldMasterChg>
    </pc:docChg>
  </pc:docChgLst>
  <pc:docChgLst>
    <pc:chgData name="Golagani, Kavitha Lakshmi" userId="286371a6-a14f-4b36-8dbf-ac1e3f5a140d" providerId="ADAL" clId="{B537CF67-461D-44CE-AFFA-A45047090650}"/>
    <pc:docChg chg="modSld">
      <pc:chgData name="Golagani, Kavitha Lakshmi" userId="286371a6-a14f-4b36-8dbf-ac1e3f5a140d" providerId="ADAL" clId="{B537CF67-461D-44CE-AFFA-A45047090650}" dt="2022-07-08T13:11:31.871" v="1" actId="1076"/>
      <pc:docMkLst>
        <pc:docMk/>
      </pc:docMkLst>
      <pc:sldChg chg="modSp mod">
        <pc:chgData name="Golagani, Kavitha Lakshmi" userId="286371a6-a14f-4b36-8dbf-ac1e3f5a140d" providerId="ADAL" clId="{B537CF67-461D-44CE-AFFA-A45047090650}" dt="2022-07-08T13:11:31.871" v="1" actId="1076"/>
        <pc:sldMkLst>
          <pc:docMk/>
          <pc:sldMk cId="3325237549" sldId="261"/>
        </pc:sldMkLst>
        <pc:spChg chg="mod">
          <ac:chgData name="Golagani, Kavitha Lakshmi" userId="286371a6-a14f-4b36-8dbf-ac1e3f5a140d" providerId="ADAL" clId="{B537CF67-461D-44CE-AFFA-A45047090650}" dt="2022-07-08T13:11:31.871" v="1" actId="1076"/>
          <ac:spMkLst>
            <pc:docMk/>
            <pc:sldMk cId="3325237549" sldId="261"/>
            <ac:spMk id="2" creationId="{00000000-0000-0000-0000-000000000000}"/>
          </ac:spMkLst>
        </pc:spChg>
        <pc:spChg chg="mod">
          <ac:chgData name="Golagani, Kavitha Lakshmi" userId="286371a6-a14f-4b36-8dbf-ac1e3f5a140d" providerId="ADAL" clId="{B537CF67-461D-44CE-AFFA-A45047090650}" dt="2022-07-08T13:11:08.679" v="0" actId="20577"/>
          <ac:spMkLst>
            <pc:docMk/>
            <pc:sldMk cId="3325237549" sldId="261"/>
            <ac:spMk id="14"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7EC8680-1C11-4191-B2D5-0EEBE834C64F}"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EE67B104-2151-461E-9D1D-A7C0AE05B865}" type="pres">
      <dgm:prSet presAssocID="{47EC8680-1C11-4191-B2D5-0EEBE834C64F}" presName="hierChild1" presStyleCnt="0">
        <dgm:presLayoutVars>
          <dgm:chPref val="1"/>
          <dgm:dir/>
          <dgm:animOne val="branch"/>
          <dgm:animLvl val="lvl"/>
          <dgm:resizeHandles/>
        </dgm:presLayoutVars>
      </dgm:prSet>
      <dgm:spPr/>
    </dgm:pt>
  </dgm:ptLst>
  <dgm:cxnLst>
    <dgm:cxn modelId="{377380DF-EDE4-4EE9-9966-2611BBB37647}" type="presOf" srcId="{47EC8680-1C11-4191-B2D5-0EEBE834C64F}" destId="{EE67B104-2151-461E-9D1D-A7C0AE05B865}" srcOrd="0"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A02D7A9-0C2F-4088-A90B-A153564FE3C0}" type="datetimeFigureOut">
              <a:rPr lang="en-US" smtClean="0"/>
              <a:t>7/8/2022</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C49A787-E3D0-4F00-8687-A201CBBFF861}" type="slidenum">
              <a:rPr lang="en-US" smtClean="0"/>
              <a:t>‹#›</a:t>
            </a:fld>
            <a:endParaRPr lang="en-US"/>
          </a:p>
        </p:txBody>
      </p:sp>
    </p:spTree>
    <p:extLst>
      <p:ext uri="{BB962C8B-B14F-4D97-AF65-F5344CB8AC3E}">
        <p14:creationId xmlns:p14="http://schemas.microsoft.com/office/powerpoint/2010/main" val="1479082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4A7ED2-6B09-4CE9-B686-775059E25C31}" type="slidenum">
              <a:rPr lang="en-US" smtClean="0"/>
              <a:pPr/>
              <a:t>1</a:t>
            </a:fld>
            <a:endParaRPr lang="en-US" dirty="0"/>
          </a:p>
        </p:txBody>
      </p:sp>
    </p:spTree>
    <p:extLst>
      <p:ext uri="{BB962C8B-B14F-4D97-AF65-F5344CB8AC3E}">
        <p14:creationId xmlns:p14="http://schemas.microsoft.com/office/powerpoint/2010/main" val="5127103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CA6D4D-09B2-4F3F-9148-938E14C4FCD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5743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01_ Text Slide (Preferred)">
    <p:spTree>
      <p:nvGrpSpPr>
        <p:cNvPr id="1" name=""/>
        <p:cNvGrpSpPr/>
        <p:nvPr/>
      </p:nvGrpSpPr>
      <p:grpSpPr>
        <a:xfrm>
          <a:off x="0" y="0"/>
          <a:ext cx="0" cy="0"/>
          <a:chOff x="0" y="0"/>
          <a:chExt cx="0" cy="0"/>
        </a:xfrm>
      </p:grpSpPr>
      <p:sp>
        <p:nvSpPr>
          <p:cNvPr id="12" name="TextBox 11"/>
          <p:cNvSpPr txBox="1"/>
          <p:nvPr userDrawn="1"/>
        </p:nvSpPr>
        <p:spPr>
          <a:xfrm>
            <a:off x="3556000" y="6456364"/>
            <a:ext cx="4978400" cy="261937"/>
          </a:xfrm>
          <a:prstGeom prst="rect">
            <a:avLst/>
          </a:prstGeom>
          <a:noFill/>
        </p:spPr>
        <p:txBody>
          <a:bodyP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small" spc="0" normalizeH="0" baseline="0" noProof="0" dirty="0">
                <a:ln>
                  <a:noFill/>
                </a:ln>
                <a:solidFill>
                  <a:srgbClr val="595959"/>
                </a:solidFill>
                <a:effectLst/>
                <a:uLnTx/>
                <a:uFillTx/>
                <a:latin typeface="Arial"/>
                <a:cs typeface="+mn-cs"/>
              </a:rPr>
              <a:t>Faster – Better – Cheaper</a:t>
            </a:r>
          </a:p>
        </p:txBody>
      </p:sp>
      <p:sp>
        <p:nvSpPr>
          <p:cNvPr id="13" name="Rectangle 10"/>
          <p:cNvSpPr>
            <a:spLocks noGrp="1" noChangeArrowheads="1"/>
          </p:cNvSpPr>
          <p:nvPr>
            <p:ph type="sldNum" sz="quarter" idx="4"/>
          </p:nvPr>
        </p:nvSpPr>
        <p:spPr bwMode="auto">
          <a:xfrm>
            <a:off x="5740400" y="6589060"/>
            <a:ext cx="609600" cy="282575"/>
          </a:xfrm>
          <a:prstGeom prst="rect">
            <a:avLst/>
          </a:prstGeom>
          <a:noFill/>
          <a:ln w="9525" algn="ctr">
            <a:noFill/>
            <a:miter lim="800000"/>
            <a:headEnd/>
            <a:tailEnd/>
          </a:ln>
          <a:effectLst/>
        </p:spPr>
        <p:txBody>
          <a:bodyPr vert="horz" wrap="square" lIns="0" tIns="45709" rIns="91418" bIns="45709" numCol="1" anchor="b" anchorCtr="0" compatLnSpc="1">
            <a:prstTxWarp prst="textNoShape">
              <a:avLst/>
            </a:prstTxWarp>
          </a:bodyPr>
          <a:lstStyle>
            <a:lvl1pPr>
              <a:defRPr sz="1000">
                <a:solidFill>
                  <a:schemeClr val="bg2"/>
                </a:solidFill>
                <a:latin typeface="+mj-lt"/>
                <a:ea typeface="+mn-ea"/>
                <a:cs typeface="+mn-cs"/>
              </a:defRPr>
            </a:lvl1pPr>
          </a:lstStyle>
          <a:p>
            <a:fld id="{762E173B-5CD9-42D2-B9F7-1887BD1B3F65}" type="slidenum">
              <a:rPr lang="en-US" smtClean="0"/>
              <a:pPr/>
              <a:t>‹#›</a:t>
            </a:fld>
            <a:endParaRPr lang="en-US" dirty="0"/>
          </a:p>
        </p:txBody>
      </p:sp>
      <p:pic>
        <p:nvPicPr>
          <p:cNvPr id="11" name="Picture 50" descr="C:\Users\fervx252\AppData\Local\Microsoft\Windows\Temporary Internet Files\Content.Word\MDLZ_BS_Lockup_Centered_4colo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4451" y="6235700"/>
            <a:ext cx="21336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551814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CFCCF-5643-40F3-903F-C902C0B880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C418D206-27A2-4F1E-9A97-5BA0B6FA833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BE2733BC-0729-4ED6-B8BF-7B41BD1F491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DF79D54-1CC3-4C2E-97CB-118C6B0257EE}"/>
              </a:ext>
            </a:extLst>
          </p:cNvPr>
          <p:cNvSpPr>
            <a:spLocks noGrp="1"/>
          </p:cNvSpPr>
          <p:nvPr>
            <p:ph type="dt" sz="half" idx="10"/>
          </p:nvPr>
        </p:nvSpPr>
        <p:spPr/>
        <p:txBody>
          <a:bodyPr/>
          <a:lstStyle/>
          <a:p>
            <a:fld id="{8B56F3F2-AA82-4075-A628-ECFF0FC36765}" type="datetimeFigureOut">
              <a:rPr lang="en-GB" smtClean="0"/>
              <a:t>08/07/2022</a:t>
            </a:fld>
            <a:endParaRPr lang="en-GB"/>
          </a:p>
        </p:txBody>
      </p:sp>
      <p:sp>
        <p:nvSpPr>
          <p:cNvPr id="6" name="Footer Placeholder 5">
            <a:extLst>
              <a:ext uri="{FF2B5EF4-FFF2-40B4-BE49-F238E27FC236}">
                <a16:creationId xmlns:a16="http://schemas.microsoft.com/office/drawing/2014/main" id="{2B72894B-7AA2-4A3A-B5A6-E42D16A3D7E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7D06962-0A98-473D-A2E4-D0996263C877}"/>
              </a:ext>
            </a:extLst>
          </p:cNvPr>
          <p:cNvSpPr>
            <a:spLocks noGrp="1"/>
          </p:cNvSpPr>
          <p:nvPr>
            <p:ph type="sldNum" sz="quarter" idx="12"/>
          </p:nvPr>
        </p:nvSpPr>
        <p:spPr/>
        <p:txBody>
          <a:bodyPr/>
          <a:lstStyle/>
          <a:p>
            <a:fld id="{7350204B-17B5-4E7D-A831-866B33A6AB18}" type="slidenum">
              <a:rPr lang="en-GB" smtClean="0"/>
              <a:t>‹#›</a:t>
            </a:fld>
            <a:endParaRPr lang="en-GB"/>
          </a:p>
        </p:txBody>
      </p:sp>
    </p:spTree>
    <p:extLst>
      <p:ext uri="{BB962C8B-B14F-4D97-AF65-F5344CB8AC3E}">
        <p14:creationId xmlns:p14="http://schemas.microsoft.com/office/powerpoint/2010/main" val="17806595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2187EF-14E8-43D5-AFD1-DC7C1E622B0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F8D56FAC-7C29-4901-9AC6-9E11F701FE1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BCAAC40D-0267-4DFB-96C2-272B3385FA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A39296A-5266-4AB7-BA71-9FC848A0769C}"/>
              </a:ext>
            </a:extLst>
          </p:cNvPr>
          <p:cNvSpPr>
            <a:spLocks noGrp="1"/>
          </p:cNvSpPr>
          <p:nvPr>
            <p:ph type="dt" sz="half" idx="10"/>
          </p:nvPr>
        </p:nvSpPr>
        <p:spPr/>
        <p:txBody>
          <a:bodyPr/>
          <a:lstStyle/>
          <a:p>
            <a:fld id="{8B56F3F2-AA82-4075-A628-ECFF0FC36765}" type="datetimeFigureOut">
              <a:rPr lang="en-GB" smtClean="0"/>
              <a:t>08/07/2022</a:t>
            </a:fld>
            <a:endParaRPr lang="en-GB"/>
          </a:p>
        </p:txBody>
      </p:sp>
      <p:sp>
        <p:nvSpPr>
          <p:cNvPr id="6" name="Footer Placeholder 5">
            <a:extLst>
              <a:ext uri="{FF2B5EF4-FFF2-40B4-BE49-F238E27FC236}">
                <a16:creationId xmlns:a16="http://schemas.microsoft.com/office/drawing/2014/main" id="{CB5F8E59-05C9-40D6-BFCB-1A58FD5C6DE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C89A06F-ABD7-4AE9-BB2F-BBE75C6A13E0}"/>
              </a:ext>
            </a:extLst>
          </p:cNvPr>
          <p:cNvSpPr>
            <a:spLocks noGrp="1"/>
          </p:cNvSpPr>
          <p:nvPr>
            <p:ph type="sldNum" sz="quarter" idx="12"/>
          </p:nvPr>
        </p:nvSpPr>
        <p:spPr/>
        <p:txBody>
          <a:bodyPr/>
          <a:lstStyle/>
          <a:p>
            <a:fld id="{7350204B-17B5-4E7D-A831-866B33A6AB18}" type="slidenum">
              <a:rPr lang="en-GB" smtClean="0"/>
              <a:t>‹#›</a:t>
            </a:fld>
            <a:endParaRPr lang="en-GB"/>
          </a:p>
        </p:txBody>
      </p:sp>
    </p:spTree>
    <p:extLst>
      <p:ext uri="{BB962C8B-B14F-4D97-AF65-F5344CB8AC3E}">
        <p14:creationId xmlns:p14="http://schemas.microsoft.com/office/powerpoint/2010/main" val="37808113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32C4B0-751A-48A5-9658-E2FF8EBB47D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CA4710A-EF53-49BB-8865-09BC9F83F4B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F5A82C5-1287-4764-B534-91FE0CD49AAE}"/>
              </a:ext>
            </a:extLst>
          </p:cNvPr>
          <p:cNvSpPr>
            <a:spLocks noGrp="1"/>
          </p:cNvSpPr>
          <p:nvPr>
            <p:ph type="dt" sz="half" idx="10"/>
          </p:nvPr>
        </p:nvSpPr>
        <p:spPr/>
        <p:txBody>
          <a:bodyPr/>
          <a:lstStyle/>
          <a:p>
            <a:fld id="{8B56F3F2-AA82-4075-A628-ECFF0FC36765}" type="datetimeFigureOut">
              <a:rPr lang="en-GB" smtClean="0"/>
              <a:t>08/07/2022</a:t>
            </a:fld>
            <a:endParaRPr lang="en-GB"/>
          </a:p>
        </p:txBody>
      </p:sp>
      <p:sp>
        <p:nvSpPr>
          <p:cNvPr id="5" name="Footer Placeholder 4">
            <a:extLst>
              <a:ext uri="{FF2B5EF4-FFF2-40B4-BE49-F238E27FC236}">
                <a16:creationId xmlns:a16="http://schemas.microsoft.com/office/drawing/2014/main" id="{1BE48002-267A-4A98-9D43-4156B73C833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5F46661-0762-4EA8-A3C3-7E17727B101A}"/>
              </a:ext>
            </a:extLst>
          </p:cNvPr>
          <p:cNvSpPr>
            <a:spLocks noGrp="1"/>
          </p:cNvSpPr>
          <p:nvPr>
            <p:ph type="sldNum" sz="quarter" idx="12"/>
          </p:nvPr>
        </p:nvSpPr>
        <p:spPr/>
        <p:txBody>
          <a:bodyPr/>
          <a:lstStyle/>
          <a:p>
            <a:fld id="{7350204B-17B5-4E7D-A831-866B33A6AB18}" type="slidenum">
              <a:rPr lang="en-GB" smtClean="0"/>
              <a:t>‹#›</a:t>
            </a:fld>
            <a:endParaRPr lang="en-GB"/>
          </a:p>
        </p:txBody>
      </p:sp>
    </p:spTree>
    <p:extLst>
      <p:ext uri="{BB962C8B-B14F-4D97-AF65-F5344CB8AC3E}">
        <p14:creationId xmlns:p14="http://schemas.microsoft.com/office/powerpoint/2010/main" val="1476089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63CBB58-C9EE-42C4-967B-067178C7DA7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11B44DC0-ED6C-4E68-98C8-159DFC88489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CC90F17-E9D2-4C34-BBC2-103B578BF90F}"/>
              </a:ext>
            </a:extLst>
          </p:cNvPr>
          <p:cNvSpPr>
            <a:spLocks noGrp="1"/>
          </p:cNvSpPr>
          <p:nvPr>
            <p:ph type="dt" sz="half" idx="10"/>
          </p:nvPr>
        </p:nvSpPr>
        <p:spPr/>
        <p:txBody>
          <a:bodyPr/>
          <a:lstStyle/>
          <a:p>
            <a:fld id="{8B56F3F2-AA82-4075-A628-ECFF0FC36765}" type="datetimeFigureOut">
              <a:rPr lang="en-GB" smtClean="0"/>
              <a:t>08/07/2022</a:t>
            </a:fld>
            <a:endParaRPr lang="en-GB"/>
          </a:p>
        </p:txBody>
      </p:sp>
      <p:sp>
        <p:nvSpPr>
          <p:cNvPr id="5" name="Footer Placeholder 4">
            <a:extLst>
              <a:ext uri="{FF2B5EF4-FFF2-40B4-BE49-F238E27FC236}">
                <a16:creationId xmlns:a16="http://schemas.microsoft.com/office/drawing/2014/main" id="{34FBD06D-1178-4B97-850C-C6DA88BC45A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92F31AE-46CC-488A-AE00-EA551BF7DCBB}"/>
              </a:ext>
            </a:extLst>
          </p:cNvPr>
          <p:cNvSpPr>
            <a:spLocks noGrp="1"/>
          </p:cNvSpPr>
          <p:nvPr>
            <p:ph type="sldNum" sz="quarter" idx="12"/>
          </p:nvPr>
        </p:nvSpPr>
        <p:spPr/>
        <p:txBody>
          <a:bodyPr/>
          <a:lstStyle/>
          <a:p>
            <a:fld id="{7350204B-17B5-4E7D-A831-866B33A6AB18}" type="slidenum">
              <a:rPr lang="en-GB" smtClean="0"/>
              <a:t>‹#›</a:t>
            </a:fld>
            <a:endParaRPr lang="en-GB"/>
          </a:p>
        </p:txBody>
      </p:sp>
    </p:spTree>
    <p:extLst>
      <p:ext uri="{BB962C8B-B14F-4D97-AF65-F5344CB8AC3E}">
        <p14:creationId xmlns:p14="http://schemas.microsoft.com/office/powerpoint/2010/main" val="11347871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Title Slide Circle Picture">
    <p:bg>
      <p:bgPr>
        <a:solidFill>
          <a:schemeClr val="accent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655B1FCA-4D49-4122-B6E9-D550AA0C5E76}"/>
              </a:ext>
            </a:extLst>
          </p:cNvPr>
          <p:cNvSpPr>
            <a:spLocks noGrp="1"/>
          </p:cNvSpPr>
          <p:nvPr>
            <p:ph type="pic" sz="quarter" idx="10" hasCustomPrompt="1"/>
          </p:nvPr>
        </p:nvSpPr>
        <p:spPr>
          <a:xfrm>
            <a:off x="0" y="2"/>
            <a:ext cx="5266036" cy="6857999"/>
          </a:xfrm>
          <a:custGeom>
            <a:avLst/>
            <a:gdLst>
              <a:gd name="connsiteX0" fmla="*/ 0 w 5266036"/>
              <a:gd name="connsiteY0" fmla="*/ 0 h 6857999"/>
              <a:gd name="connsiteX1" fmla="*/ 3014696 w 5266036"/>
              <a:gd name="connsiteY1" fmla="*/ 0 h 6857999"/>
              <a:gd name="connsiteX2" fmla="*/ 3040982 w 5266036"/>
              <a:gd name="connsiteY2" fmla="*/ 11408 h 6857999"/>
              <a:gd name="connsiteX3" fmla="*/ 5250901 w 5266036"/>
              <a:gd name="connsiteY3" fmla="*/ 4085922 h 6857999"/>
              <a:gd name="connsiteX4" fmla="*/ 3435696 w 5266036"/>
              <a:gd name="connsiteY4" fmla="*/ 6839477 h 6857999"/>
              <a:gd name="connsiteX5" fmla="*/ 3398838 w 5266036"/>
              <a:gd name="connsiteY5" fmla="*/ 6857999 h 6857999"/>
              <a:gd name="connsiteX6" fmla="*/ 0 w 5266036"/>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6036" h="6857999">
                <a:moveTo>
                  <a:pt x="0" y="0"/>
                </a:moveTo>
                <a:lnTo>
                  <a:pt x="3014696" y="0"/>
                </a:lnTo>
                <a:lnTo>
                  <a:pt x="3040982" y="11408"/>
                </a:lnTo>
                <a:cubicBezTo>
                  <a:pt x="4562919" y="717837"/>
                  <a:pt x="5390071" y="2397951"/>
                  <a:pt x="5250901" y="4085922"/>
                </a:cubicBezTo>
                <a:cubicBezTo>
                  <a:pt x="5138669" y="5484335"/>
                  <a:pt x="4361602" y="6343612"/>
                  <a:pt x="3435696" y="6839477"/>
                </a:cubicBezTo>
                <a:lnTo>
                  <a:pt x="3398838" y="6857999"/>
                </a:lnTo>
                <a:lnTo>
                  <a:pt x="0" y="6857999"/>
                </a:lnTo>
                <a:close/>
              </a:path>
            </a:pathLst>
          </a:custGeom>
          <a:solidFill>
            <a:srgbClr val="D9D9D9"/>
          </a:solidFill>
        </p:spPr>
        <p:txBody>
          <a:bodyPr wrap="square" tIns="3657600">
            <a:noAutofit/>
          </a:bodyPr>
          <a:lstStyle>
            <a:lvl1pPr marL="0" marR="0" indent="0" algn="ctr" defTabSz="914400" rtl="0" eaLnBrk="1" fontAlgn="auto" latinLnBrk="0" hangingPunct="1">
              <a:lnSpc>
                <a:spcPct val="90000"/>
              </a:lnSpc>
              <a:spcBef>
                <a:spcPts val="0"/>
              </a:spcBef>
              <a:spcAft>
                <a:spcPts val="0"/>
              </a:spcAft>
              <a:buClr>
                <a:schemeClr val="tx1"/>
              </a:buClr>
              <a:buSzTx/>
              <a:buFont typeface="Arial" panose="020B0604020202020204" pitchFamily="34" charset="0"/>
              <a:buNone/>
              <a:tabLst/>
              <a:defRPr sz="1600">
                <a:solidFill>
                  <a:schemeClr val="bg1"/>
                </a:solidFill>
              </a:defRPr>
            </a:lvl1pPr>
          </a:lstStyle>
          <a:p>
            <a:pPr marL="0" marR="0" lvl="0" indent="0" algn="ctr" defTabSz="914400" rtl="0" eaLnBrk="1" fontAlgn="auto" latinLnBrk="0" hangingPunct="1">
              <a:lnSpc>
                <a:spcPct val="90000"/>
              </a:lnSpc>
              <a:spcBef>
                <a:spcPts val="1200"/>
              </a:spcBef>
              <a:spcAft>
                <a:spcPts val="0"/>
              </a:spcAft>
              <a:buClr>
                <a:schemeClr val="tx1"/>
              </a:buClr>
              <a:buSzTx/>
              <a:buFont typeface="Arial" panose="020B0604020202020204" pitchFamily="34" charset="0"/>
              <a:buNone/>
              <a:tabLst/>
              <a:defRPr/>
            </a:pPr>
            <a:r>
              <a:rPr lang="en-US"/>
              <a:t>Click icon to insert picture</a:t>
            </a:r>
            <a:br>
              <a:rPr lang="en-US"/>
            </a:br>
            <a:r>
              <a:rPr lang="en-US"/>
              <a:t>(minimum recommended size for </a:t>
            </a:r>
            <a:br>
              <a:rPr lang="en-US"/>
            </a:br>
            <a:r>
              <a:rPr lang="en-US"/>
              <a:t>half slide image is 640 x 720 pixels)</a:t>
            </a:r>
          </a:p>
        </p:txBody>
      </p:sp>
      <p:sp>
        <p:nvSpPr>
          <p:cNvPr id="8" name="Text Placeholder 7">
            <a:extLst>
              <a:ext uri="{FF2B5EF4-FFF2-40B4-BE49-F238E27FC236}">
                <a16:creationId xmlns:a16="http://schemas.microsoft.com/office/drawing/2014/main" id="{76608E2E-E744-4878-A234-60F6B6711C89}"/>
              </a:ext>
            </a:extLst>
          </p:cNvPr>
          <p:cNvSpPr>
            <a:spLocks noGrp="1"/>
          </p:cNvSpPr>
          <p:nvPr>
            <p:ph type="body" sz="quarter" idx="11" hasCustomPrompt="1"/>
          </p:nvPr>
        </p:nvSpPr>
        <p:spPr>
          <a:xfrm>
            <a:off x="6096000" y="3306349"/>
            <a:ext cx="5638800" cy="722086"/>
          </a:xfrm>
        </p:spPr>
        <p:txBody>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Subtitle or Presenter Name</a:t>
            </a:r>
          </a:p>
        </p:txBody>
      </p:sp>
      <p:sp>
        <p:nvSpPr>
          <p:cNvPr id="10" name="Title 9">
            <a:extLst>
              <a:ext uri="{FF2B5EF4-FFF2-40B4-BE49-F238E27FC236}">
                <a16:creationId xmlns:a16="http://schemas.microsoft.com/office/drawing/2014/main" id="{3534CB02-81D9-4803-9899-8E6A2EABA970}"/>
              </a:ext>
            </a:extLst>
          </p:cNvPr>
          <p:cNvSpPr>
            <a:spLocks noGrp="1"/>
          </p:cNvSpPr>
          <p:nvPr>
            <p:ph type="title"/>
          </p:nvPr>
        </p:nvSpPr>
        <p:spPr>
          <a:xfrm>
            <a:off x="6096000" y="457200"/>
            <a:ext cx="5715000" cy="2565401"/>
          </a:xfrm>
        </p:spPr>
        <p:txBody>
          <a:bodyPr/>
          <a:lstStyle>
            <a:lvl1pPr>
              <a:lnSpc>
                <a:spcPct val="82000"/>
              </a:lnSpc>
              <a:defRPr sz="6600" b="0">
                <a:solidFill>
                  <a:schemeClr val="tx1"/>
                </a:solidFill>
              </a:defRPr>
            </a:lvl1pPr>
          </a:lstStyle>
          <a:p>
            <a:r>
              <a:rPr lang="en-US"/>
              <a:t>Click to edit Master title style</a:t>
            </a:r>
          </a:p>
        </p:txBody>
      </p:sp>
      <p:sp>
        <p:nvSpPr>
          <p:cNvPr id="51" name="Footer Placeholder 1">
            <a:extLst>
              <a:ext uri="{FF2B5EF4-FFF2-40B4-BE49-F238E27FC236}">
                <a16:creationId xmlns:a16="http://schemas.microsoft.com/office/drawing/2014/main" id="{D15D69B3-A387-4095-99EF-8F55E5B0BDA4}"/>
              </a:ext>
            </a:extLst>
          </p:cNvPr>
          <p:cNvSpPr txBox="1">
            <a:spLocks/>
          </p:cNvSpPr>
          <p:nvPr userDrawn="1"/>
        </p:nvSpPr>
        <p:spPr>
          <a:xfrm>
            <a:off x="381001" y="6602412"/>
            <a:ext cx="2668904" cy="206375"/>
          </a:xfrm>
          <a:prstGeom prst="rect">
            <a:avLst/>
          </a:prstGeom>
        </p:spPr>
        <p:txBody>
          <a:bodyPr vert="horz" lIns="0" tIns="45720" rIns="91440" bIns="45720" rtlCol="0" anchor="t" anchorCtr="0"/>
          <a:lstStyle>
            <a:defPPr>
              <a:defRPr lang="en-US"/>
            </a:defPPr>
            <a:lvl1pPr marL="0" algn="ct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algn="l" defTabSz="914400" rtl="0" eaLnBrk="1" latinLnBrk="0" hangingPunct="1"/>
            <a:r>
              <a:rPr lang="en-US" sz="800" kern="1200" noProof="0">
                <a:solidFill>
                  <a:schemeClr val="bg2">
                    <a:alpha val="40000"/>
                  </a:schemeClr>
                </a:solidFill>
                <a:latin typeface="Graphik" panose="020B0503030202060203" pitchFamily="34" charset="77"/>
                <a:ea typeface="+mn-ea"/>
                <a:cs typeface="+mn-cs"/>
              </a:rPr>
              <a:t>Copyright © 2021 Accenture. All rights reserved.</a:t>
            </a:r>
          </a:p>
        </p:txBody>
      </p:sp>
      <p:grpSp>
        <p:nvGrpSpPr>
          <p:cNvPr id="98" name="Group 97">
            <a:extLst>
              <a:ext uri="{FF2B5EF4-FFF2-40B4-BE49-F238E27FC236}">
                <a16:creationId xmlns:a16="http://schemas.microsoft.com/office/drawing/2014/main" id="{CEE5A0C4-517A-4CAA-9A5E-2820E039A6D4}"/>
              </a:ext>
            </a:extLst>
          </p:cNvPr>
          <p:cNvGrpSpPr>
            <a:grpSpLocks noChangeAspect="1"/>
          </p:cNvGrpSpPr>
          <p:nvPr userDrawn="1"/>
        </p:nvGrpSpPr>
        <p:grpSpPr>
          <a:xfrm>
            <a:off x="9896033" y="4848225"/>
            <a:ext cx="1811514" cy="697574"/>
            <a:chOff x="2078951" y="1888610"/>
            <a:chExt cx="8030200" cy="3092248"/>
          </a:xfrm>
          <a:solidFill>
            <a:srgbClr val="FFFFFF"/>
          </a:solidFill>
        </p:grpSpPr>
        <p:sp>
          <p:nvSpPr>
            <p:cNvPr id="99" name="Freeform: Shape 98">
              <a:extLst>
                <a:ext uri="{FF2B5EF4-FFF2-40B4-BE49-F238E27FC236}">
                  <a16:creationId xmlns:a16="http://schemas.microsoft.com/office/drawing/2014/main" id="{60104529-5FE1-4959-826C-E3CF0D9B4A82}"/>
                </a:ext>
              </a:extLst>
            </p:cNvPr>
            <p:cNvSpPr/>
            <p:nvPr/>
          </p:nvSpPr>
          <p:spPr>
            <a:xfrm>
              <a:off x="2078951" y="2872694"/>
              <a:ext cx="951880" cy="652717"/>
            </a:xfrm>
            <a:custGeom>
              <a:avLst/>
              <a:gdLst>
                <a:gd name="connsiteX0" fmla="*/ 903041 w 951880"/>
                <a:gd name="connsiteY0" fmla="*/ 330574 h 652717"/>
                <a:gd name="connsiteX1" fmla="*/ 780656 w 951880"/>
                <a:gd name="connsiteY1" fmla="*/ 379528 h 652717"/>
                <a:gd name="connsiteX2" fmla="*/ 598439 w 951880"/>
                <a:gd name="connsiteY2" fmla="*/ 311537 h 652717"/>
                <a:gd name="connsiteX3" fmla="*/ 505970 w 951880"/>
                <a:gd name="connsiteY3" fmla="*/ 164675 h 652717"/>
                <a:gd name="connsiteX4" fmla="*/ 266640 w 951880"/>
                <a:gd name="connsiteY4" fmla="*/ 61329 h 652717"/>
                <a:gd name="connsiteX5" fmla="*/ 103461 w 951880"/>
                <a:gd name="connsiteY5" fmla="*/ 458398 h 652717"/>
                <a:gd name="connsiteX6" fmla="*/ 756179 w 951880"/>
                <a:gd name="connsiteY6" fmla="*/ 485595 h 652717"/>
                <a:gd name="connsiteX7" fmla="*/ 903041 w 951880"/>
                <a:gd name="connsiteY7" fmla="*/ 330574 h 65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1880" h="652717">
                  <a:moveTo>
                    <a:pt x="903041" y="330574"/>
                  </a:moveTo>
                  <a:cubicBezTo>
                    <a:pt x="867685" y="363210"/>
                    <a:pt x="813292" y="374089"/>
                    <a:pt x="780656" y="379528"/>
                  </a:cubicBezTo>
                  <a:cubicBezTo>
                    <a:pt x="712664" y="387687"/>
                    <a:pt x="641953" y="365930"/>
                    <a:pt x="598439" y="311537"/>
                  </a:cubicBezTo>
                  <a:cubicBezTo>
                    <a:pt x="563083" y="268022"/>
                    <a:pt x="544046" y="210910"/>
                    <a:pt x="505970" y="164675"/>
                  </a:cubicBezTo>
                  <a:cubicBezTo>
                    <a:pt x="448858" y="93964"/>
                    <a:pt x="359109" y="45011"/>
                    <a:pt x="266640" y="61329"/>
                  </a:cubicBezTo>
                  <a:cubicBezTo>
                    <a:pt x="81704" y="93964"/>
                    <a:pt x="114" y="308817"/>
                    <a:pt x="103461" y="458398"/>
                  </a:cubicBezTo>
                  <a:cubicBezTo>
                    <a:pt x="253042" y="670531"/>
                    <a:pt x="584840" y="635176"/>
                    <a:pt x="756179" y="485595"/>
                  </a:cubicBezTo>
                  <a:cubicBezTo>
                    <a:pt x="813292" y="442080"/>
                    <a:pt x="862246" y="390407"/>
                    <a:pt x="903041" y="330574"/>
                  </a:cubicBezTo>
                </a:path>
              </a:pathLst>
            </a:custGeom>
            <a:grpFill/>
            <a:ln w="27168"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03178358-D560-4129-85C7-8AEC336A042A}"/>
                </a:ext>
              </a:extLst>
            </p:cNvPr>
            <p:cNvSpPr/>
            <p:nvPr/>
          </p:nvSpPr>
          <p:spPr>
            <a:xfrm>
              <a:off x="9151831" y="2872694"/>
              <a:ext cx="951880" cy="652717"/>
            </a:xfrm>
            <a:custGeom>
              <a:avLst/>
              <a:gdLst>
                <a:gd name="connsiteX0" fmla="*/ 58178 w 951880"/>
                <a:gd name="connsiteY0" fmla="*/ 330574 h 652717"/>
                <a:gd name="connsiteX1" fmla="*/ 180563 w 951880"/>
                <a:gd name="connsiteY1" fmla="*/ 379528 h 652717"/>
                <a:gd name="connsiteX2" fmla="*/ 362780 w 951880"/>
                <a:gd name="connsiteY2" fmla="*/ 311537 h 652717"/>
                <a:gd name="connsiteX3" fmla="*/ 455249 w 951880"/>
                <a:gd name="connsiteY3" fmla="*/ 164675 h 652717"/>
                <a:gd name="connsiteX4" fmla="*/ 694578 w 951880"/>
                <a:gd name="connsiteY4" fmla="*/ 61329 h 652717"/>
                <a:gd name="connsiteX5" fmla="*/ 857758 w 951880"/>
                <a:gd name="connsiteY5" fmla="*/ 458398 h 652717"/>
                <a:gd name="connsiteX6" fmla="*/ 205040 w 951880"/>
                <a:gd name="connsiteY6" fmla="*/ 485595 h 652717"/>
                <a:gd name="connsiteX7" fmla="*/ 58178 w 951880"/>
                <a:gd name="connsiteY7" fmla="*/ 330574 h 65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1880" h="652717">
                  <a:moveTo>
                    <a:pt x="58178" y="330574"/>
                  </a:moveTo>
                  <a:cubicBezTo>
                    <a:pt x="96253" y="363210"/>
                    <a:pt x="147927" y="374089"/>
                    <a:pt x="180563" y="379528"/>
                  </a:cubicBezTo>
                  <a:cubicBezTo>
                    <a:pt x="248554" y="387687"/>
                    <a:pt x="319266" y="365930"/>
                    <a:pt x="362780" y="311537"/>
                  </a:cubicBezTo>
                  <a:cubicBezTo>
                    <a:pt x="398136" y="268022"/>
                    <a:pt x="417174" y="210910"/>
                    <a:pt x="455249" y="164675"/>
                  </a:cubicBezTo>
                  <a:cubicBezTo>
                    <a:pt x="512362" y="93964"/>
                    <a:pt x="602110" y="45011"/>
                    <a:pt x="694578" y="61329"/>
                  </a:cubicBezTo>
                  <a:cubicBezTo>
                    <a:pt x="879515" y="93964"/>
                    <a:pt x="961105" y="308817"/>
                    <a:pt x="857758" y="458398"/>
                  </a:cubicBezTo>
                  <a:cubicBezTo>
                    <a:pt x="708176" y="670531"/>
                    <a:pt x="376379" y="635176"/>
                    <a:pt x="205040" y="485595"/>
                  </a:cubicBezTo>
                  <a:cubicBezTo>
                    <a:pt x="150646" y="442080"/>
                    <a:pt x="101693" y="390407"/>
                    <a:pt x="58178" y="330574"/>
                  </a:cubicBezTo>
                </a:path>
              </a:pathLst>
            </a:custGeom>
            <a:grpFill/>
            <a:ln w="27168"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BF58C5B7-FA6A-4C23-8665-39E25FB02DBC}"/>
                </a:ext>
              </a:extLst>
            </p:cNvPr>
            <p:cNvSpPr/>
            <p:nvPr/>
          </p:nvSpPr>
          <p:spPr>
            <a:xfrm>
              <a:off x="8001294" y="2010994"/>
              <a:ext cx="734308" cy="299162"/>
            </a:xfrm>
            <a:custGeom>
              <a:avLst/>
              <a:gdLst>
                <a:gd name="connsiteX0" fmla="*/ 596792 w 734307"/>
                <a:gd name="connsiteY0" fmla="*/ 58178 h 299162"/>
                <a:gd name="connsiteX1" fmla="*/ 148048 w 734307"/>
                <a:gd name="connsiteY1" fmla="*/ 58178 h 299162"/>
                <a:gd name="connsiteX2" fmla="*/ 58299 w 734307"/>
                <a:gd name="connsiteY2" fmla="*/ 150646 h 299162"/>
                <a:gd name="connsiteX3" fmla="*/ 148048 w 734307"/>
                <a:gd name="connsiteY3" fmla="*/ 251274 h 299162"/>
                <a:gd name="connsiteX4" fmla="*/ 596792 w 734307"/>
                <a:gd name="connsiteY4" fmla="*/ 251274 h 299162"/>
                <a:gd name="connsiteX5" fmla="*/ 686541 w 734307"/>
                <a:gd name="connsiteY5" fmla="*/ 158805 h 299162"/>
                <a:gd name="connsiteX6" fmla="*/ 596792 w 734307"/>
                <a:gd name="connsiteY6" fmla="*/ 58178 h 299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4307" h="299162">
                  <a:moveTo>
                    <a:pt x="596792" y="58178"/>
                  </a:moveTo>
                  <a:cubicBezTo>
                    <a:pt x="591353" y="58178"/>
                    <a:pt x="153487" y="58178"/>
                    <a:pt x="148048" y="58178"/>
                  </a:cubicBezTo>
                  <a:cubicBezTo>
                    <a:pt x="99094" y="60898"/>
                    <a:pt x="61019" y="104412"/>
                    <a:pt x="58299" y="150646"/>
                  </a:cubicBezTo>
                  <a:cubicBezTo>
                    <a:pt x="55580" y="199600"/>
                    <a:pt x="99094" y="248554"/>
                    <a:pt x="148048" y="251274"/>
                  </a:cubicBezTo>
                  <a:cubicBezTo>
                    <a:pt x="153487" y="251274"/>
                    <a:pt x="591353" y="251274"/>
                    <a:pt x="596792" y="251274"/>
                  </a:cubicBezTo>
                  <a:cubicBezTo>
                    <a:pt x="645746" y="248554"/>
                    <a:pt x="683821" y="205040"/>
                    <a:pt x="686541" y="158805"/>
                  </a:cubicBezTo>
                  <a:cubicBezTo>
                    <a:pt x="689260" y="109852"/>
                    <a:pt x="648465" y="60898"/>
                    <a:pt x="596792" y="58178"/>
                  </a:cubicBezTo>
                </a:path>
              </a:pathLst>
            </a:custGeom>
            <a:grpFill/>
            <a:ln w="27168"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45337AE0-D2B6-42BD-978D-05FF7BFB63E9}"/>
                </a:ext>
              </a:extLst>
            </p:cNvPr>
            <p:cNvSpPr/>
            <p:nvPr/>
          </p:nvSpPr>
          <p:spPr>
            <a:xfrm>
              <a:off x="4920042" y="2277520"/>
              <a:ext cx="1006274" cy="951879"/>
            </a:xfrm>
            <a:custGeom>
              <a:avLst/>
              <a:gdLst>
                <a:gd name="connsiteX0" fmla="*/ 884954 w 1006273"/>
                <a:gd name="connsiteY0" fmla="*/ 746251 h 951879"/>
                <a:gd name="connsiteX1" fmla="*/ 874076 w 1006273"/>
                <a:gd name="connsiteY1" fmla="*/ 670101 h 951879"/>
                <a:gd name="connsiteX2" fmla="*/ 874076 w 1006273"/>
                <a:gd name="connsiteY2" fmla="*/ 536837 h 951879"/>
                <a:gd name="connsiteX3" fmla="*/ 689139 w 1006273"/>
                <a:gd name="connsiteY3" fmla="*/ 88094 h 951879"/>
                <a:gd name="connsiteX4" fmla="*/ 428052 w 1006273"/>
                <a:gd name="connsiteY4" fmla="*/ 253993 h 951879"/>
                <a:gd name="connsiteX5" fmla="*/ 196881 w 1006273"/>
                <a:gd name="connsiteY5" fmla="*/ 58178 h 951879"/>
                <a:gd name="connsiteX6" fmla="*/ 58178 w 1006273"/>
                <a:gd name="connsiteY6" fmla="*/ 128889 h 951879"/>
                <a:gd name="connsiteX7" fmla="*/ 142488 w 1006273"/>
                <a:gd name="connsiteY7" fmla="*/ 273031 h 951879"/>
                <a:gd name="connsiteX8" fmla="*/ 142488 w 1006273"/>
                <a:gd name="connsiteY8" fmla="*/ 757130 h 951879"/>
                <a:gd name="connsiteX9" fmla="*/ 283910 w 1006273"/>
                <a:gd name="connsiteY9" fmla="*/ 895832 h 951879"/>
                <a:gd name="connsiteX10" fmla="*/ 428052 w 1006273"/>
                <a:gd name="connsiteY10" fmla="*/ 757130 h 951879"/>
                <a:gd name="connsiteX11" fmla="*/ 428052 w 1006273"/>
                <a:gd name="connsiteY11" fmla="*/ 400855 h 951879"/>
                <a:gd name="connsiteX12" fmla="*/ 523240 w 1006273"/>
                <a:gd name="connsiteY12" fmla="*/ 283910 h 951879"/>
                <a:gd name="connsiteX13" fmla="*/ 591231 w 1006273"/>
                <a:gd name="connsiteY13" fmla="*/ 354621 h 951879"/>
                <a:gd name="connsiteX14" fmla="*/ 591231 w 1006273"/>
                <a:gd name="connsiteY14" fmla="*/ 697297 h 951879"/>
                <a:gd name="connsiteX15" fmla="*/ 593951 w 1006273"/>
                <a:gd name="connsiteY15" fmla="*/ 729933 h 951879"/>
                <a:gd name="connsiteX16" fmla="*/ 610269 w 1006273"/>
                <a:gd name="connsiteY16" fmla="*/ 778887 h 951879"/>
                <a:gd name="connsiteX17" fmla="*/ 822402 w 1006273"/>
                <a:gd name="connsiteY17" fmla="*/ 893112 h 951879"/>
                <a:gd name="connsiteX18" fmla="*/ 961105 w 1006273"/>
                <a:gd name="connsiteY18" fmla="*/ 822401 h 951879"/>
                <a:gd name="connsiteX19" fmla="*/ 884954 w 1006273"/>
                <a:gd name="connsiteY19" fmla="*/ 746251 h 95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06273" h="951879">
                  <a:moveTo>
                    <a:pt x="884954" y="746251"/>
                  </a:moveTo>
                  <a:cubicBezTo>
                    <a:pt x="879515" y="721774"/>
                    <a:pt x="876795" y="694578"/>
                    <a:pt x="874076" y="670101"/>
                  </a:cubicBezTo>
                  <a:cubicBezTo>
                    <a:pt x="874076" y="634745"/>
                    <a:pt x="874076" y="583072"/>
                    <a:pt x="874076" y="536837"/>
                  </a:cubicBezTo>
                  <a:cubicBezTo>
                    <a:pt x="879515" y="373658"/>
                    <a:pt x="909431" y="88094"/>
                    <a:pt x="689139" y="88094"/>
                  </a:cubicBezTo>
                  <a:cubicBezTo>
                    <a:pt x="539558" y="88094"/>
                    <a:pt x="452529" y="213199"/>
                    <a:pt x="428052" y="253993"/>
                  </a:cubicBezTo>
                  <a:cubicBezTo>
                    <a:pt x="425332" y="139768"/>
                    <a:pt x="335583" y="58178"/>
                    <a:pt x="196881" y="58178"/>
                  </a:cubicBezTo>
                  <a:cubicBezTo>
                    <a:pt x="109852" y="58178"/>
                    <a:pt x="58178" y="128889"/>
                    <a:pt x="58178" y="128889"/>
                  </a:cubicBezTo>
                  <a:cubicBezTo>
                    <a:pt x="58178" y="128889"/>
                    <a:pt x="142488" y="158805"/>
                    <a:pt x="142488" y="273031"/>
                  </a:cubicBezTo>
                  <a:cubicBezTo>
                    <a:pt x="142488" y="354621"/>
                    <a:pt x="142488" y="757130"/>
                    <a:pt x="142488" y="757130"/>
                  </a:cubicBezTo>
                  <a:cubicBezTo>
                    <a:pt x="145207" y="827841"/>
                    <a:pt x="194161" y="895832"/>
                    <a:pt x="283910" y="895832"/>
                  </a:cubicBezTo>
                  <a:cubicBezTo>
                    <a:pt x="373659" y="895832"/>
                    <a:pt x="428052" y="827841"/>
                    <a:pt x="428052" y="757130"/>
                  </a:cubicBezTo>
                  <a:lnTo>
                    <a:pt x="428052" y="400855"/>
                  </a:lnTo>
                  <a:cubicBezTo>
                    <a:pt x="441650" y="343742"/>
                    <a:pt x="474286" y="283910"/>
                    <a:pt x="523240" y="283910"/>
                  </a:cubicBezTo>
                  <a:cubicBezTo>
                    <a:pt x="585792" y="283910"/>
                    <a:pt x="591231" y="354621"/>
                    <a:pt x="591231" y="354621"/>
                  </a:cubicBezTo>
                  <a:lnTo>
                    <a:pt x="591231" y="697297"/>
                  </a:lnTo>
                  <a:cubicBezTo>
                    <a:pt x="591231" y="708176"/>
                    <a:pt x="593951" y="719054"/>
                    <a:pt x="593951" y="729933"/>
                  </a:cubicBezTo>
                  <a:cubicBezTo>
                    <a:pt x="596671" y="748971"/>
                    <a:pt x="602110" y="765289"/>
                    <a:pt x="610269" y="778887"/>
                  </a:cubicBezTo>
                  <a:cubicBezTo>
                    <a:pt x="645624" y="846878"/>
                    <a:pt x="719055" y="893112"/>
                    <a:pt x="822402" y="893112"/>
                  </a:cubicBezTo>
                  <a:cubicBezTo>
                    <a:pt x="909431" y="893112"/>
                    <a:pt x="961105" y="822401"/>
                    <a:pt x="961105" y="822401"/>
                  </a:cubicBezTo>
                  <a:cubicBezTo>
                    <a:pt x="961105" y="822401"/>
                    <a:pt x="909431" y="808803"/>
                    <a:pt x="884954" y="746251"/>
                  </a:cubicBezTo>
                </a:path>
              </a:pathLst>
            </a:custGeom>
            <a:grpFill/>
            <a:ln w="27168"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F6EE88BE-AD40-4CC1-A234-32AA8794944C}"/>
                </a:ext>
              </a:extLst>
            </p:cNvPr>
            <p:cNvSpPr/>
            <p:nvPr/>
          </p:nvSpPr>
          <p:spPr>
            <a:xfrm>
              <a:off x="7552331" y="1888610"/>
              <a:ext cx="489539" cy="1332631"/>
            </a:xfrm>
            <a:custGeom>
              <a:avLst/>
              <a:gdLst>
                <a:gd name="connsiteX0" fmla="*/ 368560 w 489538"/>
                <a:gd name="connsiteY0" fmla="*/ 1135162 h 1332630"/>
                <a:gd name="connsiteX1" fmla="*/ 357681 w 489538"/>
                <a:gd name="connsiteY1" fmla="*/ 1059011 h 1332630"/>
                <a:gd name="connsiteX2" fmla="*/ 357681 w 489538"/>
                <a:gd name="connsiteY2" fmla="*/ 207759 h 1332630"/>
                <a:gd name="connsiteX3" fmla="*/ 208099 w 489538"/>
                <a:gd name="connsiteY3" fmla="*/ 58178 h 1332630"/>
                <a:gd name="connsiteX4" fmla="*/ 58518 w 489538"/>
                <a:gd name="connsiteY4" fmla="*/ 207759 h 1332630"/>
                <a:gd name="connsiteX5" fmla="*/ 58518 w 489538"/>
                <a:gd name="connsiteY5" fmla="*/ 961104 h 1332630"/>
                <a:gd name="connsiteX6" fmla="*/ 85715 w 489538"/>
                <a:gd name="connsiteY6" fmla="*/ 1159639 h 1332630"/>
                <a:gd name="connsiteX7" fmla="*/ 306007 w 489538"/>
                <a:gd name="connsiteY7" fmla="*/ 1282023 h 1332630"/>
                <a:gd name="connsiteX8" fmla="*/ 444710 w 489538"/>
                <a:gd name="connsiteY8" fmla="*/ 1211312 h 1332630"/>
                <a:gd name="connsiteX9" fmla="*/ 368560 w 489538"/>
                <a:gd name="connsiteY9" fmla="*/ 1135162 h 133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9538" h="1332630">
                  <a:moveTo>
                    <a:pt x="368560" y="1135162"/>
                  </a:moveTo>
                  <a:cubicBezTo>
                    <a:pt x="363120" y="1110685"/>
                    <a:pt x="357681" y="1083488"/>
                    <a:pt x="357681" y="1059011"/>
                  </a:cubicBezTo>
                  <a:lnTo>
                    <a:pt x="357681" y="207759"/>
                  </a:lnTo>
                  <a:cubicBezTo>
                    <a:pt x="357681" y="126170"/>
                    <a:pt x="289689" y="58178"/>
                    <a:pt x="208099" y="58178"/>
                  </a:cubicBezTo>
                  <a:cubicBezTo>
                    <a:pt x="126510" y="58178"/>
                    <a:pt x="58518" y="126170"/>
                    <a:pt x="58518" y="207759"/>
                  </a:cubicBezTo>
                  <a:lnTo>
                    <a:pt x="58518" y="961104"/>
                  </a:lnTo>
                  <a:cubicBezTo>
                    <a:pt x="58518" y="1029095"/>
                    <a:pt x="53079" y="1097086"/>
                    <a:pt x="85715" y="1159639"/>
                  </a:cubicBezTo>
                  <a:cubicBezTo>
                    <a:pt x="118351" y="1227630"/>
                    <a:pt x="202660" y="1282023"/>
                    <a:pt x="306007" y="1282023"/>
                  </a:cubicBezTo>
                  <a:cubicBezTo>
                    <a:pt x="393036" y="1282023"/>
                    <a:pt x="444710" y="1211312"/>
                    <a:pt x="444710" y="1211312"/>
                  </a:cubicBezTo>
                  <a:cubicBezTo>
                    <a:pt x="444710" y="1211312"/>
                    <a:pt x="393036" y="1197714"/>
                    <a:pt x="368560" y="1135162"/>
                  </a:cubicBezTo>
                </a:path>
              </a:pathLst>
            </a:custGeom>
            <a:grpFill/>
            <a:ln w="27168"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E6CC2561-6524-4F3B-8680-AA31F31A4A48}"/>
                </a:ext>
              </a:extLst>
            </p:cNvPr>
            <p:cNvSpPr/>
            <p:nvPr/>
          </p:nvSpPr>
          <p:spPr>
            <a:xfrm>
              <a:off x="4162324" y="2357456"/>
              <a:ext cx="815899" cy="815898"/>
            </a:xfrm>
            <a:custGeom>
              <a:avLst/>
              <a:gdLst>
                <a:gd name="connsiteX0" fmla="*/ 407949 w 815899"/>
                <a:gd name="connsiteY0" fmla="*/ 174058 h 815898"/>
                <a:gd name="connsiteX1" fmla="*/ 293723 w 815899"/>
                <a:gd name="connsiteY1" fmla="*/ 407950 h 815898"/>
                <a:gd name="connsiteX2" fmla="*/ 410669 w 815899"/>
                <a:gd name="connsiteY2" fmla="*/ 641840 h 815898"/>
                <a:gd name="connsiteX3" fmla="*/ 522175 w 815899"/>
                <a:gd name="connsiteY3" fmla="*/ 407950 h 815898"/>
                <a:gd name="connsiteX4" fmla="*/ 407949 w 815899"/>
                <a:gd name="connsiteY4" fmla="*/ 174058 h 815898"/>
                <a:gd name="connsiteX5" fmla="*/ 407950 w 815899"/>
                <a:gd name="connsiteY5" fmla="*/ 0 h 815898"/>
                <a:gd name="connsiteX6" fmla="*/ 815899 w 815899"/>
                <a:gd name="connsiteY6" fmla="*/ 407949 h 815898"/>
                <a:gd name="connsiteX7" fmla="*/ 407950 w 815899"/>
                <a:gd name="connsiteY7" fmla="*/ 815898 h 815898"/>
                <a:gd name="connsiteX8" fmla="*/ 0 w 815899"/>
                <a:gd name="connsiteY8" fmla="*/ 407949 h 815898"/>
                <a:gd name="connsiteX9" fmla="*/ 407950 w 815899"/>
                <a:gd name="connsiteY9" fmla="*/ 0 h 815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5899" h="815898">
                  <a:moveTo>
                    <a:pt x="407949" y="174058"/>
                  </a:moveTo>
                  <a:cubicBezTo>
                    <a:pt x="342677" y="174058"/>
                    <a:pt x="293723" y="263807"/>
                    <a:pt x="293723" y="407950"/>
                  </a:cubicBezTo>
                  <a:cubicBezTo>
                    <a:pt x="293723" y="552091"/>
                    <a:pt x="331799" y="639120"/>
                    <a:pt x="410669" y="641840"/>
                  </a:cubicBezTo>
                  <a:cubicBezTo>
                    <a:pt x="489539" y="641840"/>
                    <a:pt x="527614" y="552091"/>
                    <a:pt x="522175" y="407950"/>
                  </a:cubicBezTo>
                  <a:cubicBezTo>
                    <a:pt x="522175" y="263807"/>
                    <a:pt x="473221" y="176778"/>
                    <a:pt x="407949" y="174058"/>
                  </a:cubicBezTo>
                  <a:close/>
                  <a:moveTo>
                    <a:pt x="407950" y="0"/>
                  </a:moveTo>
                  <a:cubicBezTo>
                    <a:pt x="633682" y="0"/>
                    <a:pt x="815899" y="182217"/>
                    <a:pt x="815899" y="407949"/>
                  </a:cubicBezTo>
                  <a:cubicBezTo>
                    <a:pt x="815899" y="633681"/>
                    <a:pt x="633682" y="815898"/>
                    <a:pt x="407950" y="815898"/>
                  </a:cubicBezTo>
                  <a:cubicBezTo>
                    <a:pt x="182218" y="815898"/>
                    <a:pt x="0" y="633681"/>
                    <a:pt x="0" y="407949"/>
                  </a:cubicBezTo>
                  <a:cubicBezTo>
                    <a:pt x="0" y="182217"/>
                    <a:pt x="182218" y="0"/>
                    <a:pt x="407950" y="0"/>
                  </a:cubicBezTo>
                  <a:close/>
                </a:path>
              </a:pathLst>
            </a:custGeom>
            <a:grpFill/>
            <a:ln w="27168"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64E3B8B9-99B5-477D-B56D-72A32F0ABB72}"/>
                </a:ext>
              </a:extLst>
            </p:cNvPr>
            <p:cNvSpPr/>
            <p:nvPr/>
          </p:nvSpPr>
          <p:spPr>
            <a:xfrm>
              <a:off x="5884871" y="1946788"/>
              <a:ext cx="912802" cy="1223846"/>
            </a:xfrm>
            <a:custGeom>
              <a:avLst/>
              <a:gdLst>
                <a:gd name="connsiteX0" fmla="*/ 387907 w 912802"/>
                <a:gd name="connsiteY0" fmla="*/ 620081 h 1223846"/>
                <a:gd name="connsiteX1" fmla="*/ 273681 w 912802"/>
                <a:gd name="connsiteY1" fmla="*/ 824055 h 1223846"/>
                <a:gd name="connsiteX2" fmla="*/ 390627 w 912802"/>
                <a:gd name="connsiteY2" fmla="*/ 1028029 h 1223846"/>
                <a:gd name="connsiteX3" fmla="*/ 502132 w 912802"/>
                <a:gd name="connsiteY3" fmla="*/ 824055 h 1223846"/>
                <a:gd name="connsiteX4" fmla="*/ 387907 w 912802"/>
                <a:gd name="connsiteY4" fmla="*/ 620081 h 1223846"/>
                <a:gd name="connsiteX5" fmla="*/ 676192 w 912802"/>
                <a:gd name="connsiteY5" fmla="*/ 0 h 1223846"/>
                <a:gd name="connsiteX6" fmla="*/ 825773 w 912802"/>
                <a:gd name="connsiteY6" fmla="*/ 149581 h 1223846"/>
                <a:gd name="connsiteX7" fmla="*/ 825773 w 912802"/>
                <a:gd name="connsiteY7" fmla="*/ 1000834 h 1223846"/>
                <a:gd name="connsiteX8" fmla="*/ 836651 w 912802"/>
                <a:gd name="connsiteY8" fmla="*/ 1076985 h 1223846"/>
                <a:gd name="connsiteX9" fmla="*/ 912802 w 912802"/>
                <a:gd name="connsiteY9" fmla="*/ 1150415 h 1223846"/>
                <a:gd name="connsiteX10" fmla="*/ 774099 w 912802"/>
                <a:gd name="connsiteY10" fmla="*/ 1221126 h 1223846"/>
                <a:gd name="connsiteX11" fmla="*/ 553807 w 912802"/>
                <a:gd name="connsiteY11" fmla="*/ 1098742 h 1223846"/>
                <a:gd name="connsiteX12" fmla="*/ 548367 w 912802"/>
                <a:gd name="connsiteY12" fmla="*/ 1085144 h 1223846"/>
                <a:gd name="connsiteX13" fmla="*/ 398786 w 912802"/>
                <a:gd name="connsiteY13" fmla="*/ 1212967 h 1223846"/>
                <a:gd name="connsiteX14" fmla="*/ 156736 w 912802"/>
                <a:gd name="connsiteY14" fmla="*/ 1180332 h 1223846"/>
                <a:gd name="connsiteX15" fmla="*/ 287280 w 912802"/>
                <a:gd name="connsiteY15" fmla="*/ 416107 h 1223846"/>
                <a:gd name="connsiteX16" fmla="*/ 526611 w 912802"/>
                <a:gd name="connsiteY16" fmla="*/ 552091 h 1223846"/>
                <a:gd name="connsiteX17" fmla="*/ 526611 w 912802"/>
                <a:gd name="connsiteY17" fmla="*/ 149581 h 1223846"/>
                <a:gd name="connsiteX18" fmla="*/ 676192 w 912802"/>
                <a:gd name="connsiteY18" fmla="*/ 0 h 1223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12802" h="1223846">
                  <a:moveTo>
                    <a:pt x="387907" y="620081"/>
                  </a:moveTo>
                  <a:cubicBezTo>
                    <a:pt x="322635" y="620081"/>
                    <a:pt x="273681" y="698951"/>
                    <a:pt x="273681" y="824055"/>
                  </a:cubicBezTo>
                  <a:cubicBezTo>
                    <a:pt x="273681" y="949160"/>
                    <a:pt x="311756" y="1028029"/>
                    <a:pt x="390627" y="1028029"/>
                  </a:cubicBezTo>
                  <a:cubicBezTo>
                    <a:pt x="466777" y="1025310"/>
                    <a:pt x="504852" y="949160"/>
                    <a:pt x="502132" y="824055"/>
                  </a:cubicBezTo>
                  <a:cubicBezTo>
                    <a:pt x="502132" y="698951"/>
                    <a:pt x="455898" y="622801"/>
                    <a:pt x="387907" y="620081"/>
                  </a:cubicBezTo>
                  <a:close/>
                  <a:moveTo>
                    <a:pt x="676192" y="0"/>
                  </a:moveTo>
                  <a:cubicBezTo>
                    <a:pt x="757781" y="0"/>
                    <a:pt x="825773" y="67992"/>
                    <a:pt x="825773" y="149581"/>
                  </a:cubicBezTo>
                  <a:lnTo>
                    <a:pt x="825773" y="1000834"/>
                  </a:lnTo>
                  <a:cubicBezTo>
                    <a:pt x="828492" y="1025311"/>
                    <a:pt x="831212" y="1052508"/>
                    <a:pt x="836651" y="1076985"/>
                  </a:cubicBezTo>
                  <a:cubicBezTo>
                    <a:pt x="861128" y="1139537"/>
                    <a:pt x="912802" y="1150415"/>
                    <a:pt x="912802" y="1150415"/>
                  </a:cubicBezTo>
                  <a:cubicBezTo>
                    <a:pt x="912802" y="1150415"/>
                    <a:pt x="861128" y="1221126"/>
                    <a:pt x="774099" y="1221126"/>
                  </a:cubicBezTo>
                  <a:cubicBezTo>
                    <a:pt x="670752" y="1221126"/>
                    <a:pt x="589162" y="1166733"/>
                    <a:pt x="553807" y="1098742"/>
                  </a:cubicBezTo>
                  <a:cubicBezTo>
                    <a:pt x="551087" y="1093303"/>
                    <a:pt x="551087" y="1090583"/>
                    <a:pt x="548367" y="1085144"/>
                  </a:cubicBezTo>
                  <a:cubicBezTo>
                    <a:pt x="534769" y="1147696"/>
                    <a:pt x="450460" y="1199369"/>
                    <a:pt x="398786" y="1212967"/>
                  </a:cubicBezTo>
                  <a:cubicBezTo>
                    <a:pt x="322636" y="1234725"/>
                    <a:pt x="222008" y="1223846"/>
                    <a:pt x="156736" y="1180332"/>
                  </a:cubicBezTo>
                  <a:cubicBezTo>
                    <a:pt x="-79874" y="1028031"/>
                    <a:pt x="-58117" y="416107"/>
                    <a:pt x="287280" y="416107"/>
                  </a:cubicBezTo>
                  <a:cubicBezTo>
                    <a:pt x="412385" y="416107"/>
                    <a:pt x="491255" y="503137"/>
                    <a:pt x="526611" y="552091"/>
                  </a:cubicBezTo>
                  <a:lnTo>
                    <a:pt x="526611" y="149581"/>
                  </a:lnTo>
                  <a:cubicBezTo>
                    <a:pt x="526611" y="67992"/>
                    <a:pt x="594602" y="0"/>
                    <a:pt x="676192" y="0"/>
                  </a:cubicBezTo>
                  <a:close/>
                </a:path>
              </a:pathLst>
            </a:custGeom>
            <a:grpFill/>
            <a:ln w="27168"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693E98BE-47FC-496F-BD55-76920560E670}"/>
                </a:ext>
              </a:extLst>
            </p:cNvPr>
            <p:cNvSpPr/>
            <p:nvPr/>
          </p:nvSpPr>
          <p:spPr>
            <a:xfrm>
              <a:off x="6789513" y="2362895"/>
              <a:ext cx="747906" cy="810458"/>
            </a:xfrm>
            <a:custGeom>
              <a:avLst/>
              <a:gdLst>
                <a:gd name="connsiteX0" fmla="*/ 394818 w 747906"/>
                <a:gd name="connsiteY0" fmla="*/ 163222 h 810458"/>
                <a:gd name="connsiteX1" fmla="*/ 356275 w 747906"/>
                <a:gd name="connsiteY1" fmla="*/ 174058 h 810458"/>
                <a:gd name="connsiteX2" fmla="*/ 274685 w 747906"/>
                <a:gd name="connsiteY2" fmla="*/ 356275 h 810458"/>
                <a:gd name="connsiteX3" fmla="*/ 375313 w 747906"/>
                <a:gd name="connsiteY3" fmla="*/ 358994 h 810458"/>
                <a:gd name="connsiteX4" fmla="*/ 473220 w 747906"/>
                <a:gd name="connsiteY4" fmla="*/ 239329 h 810458"/>
                <a:gd name="connsiteX5" fmla="*/ 394818 w 747906"/>
                <a:gd name="connsiteY5" fmla="*/ 163222 h 810458"/>
                <a:gd name="connsiteX6" fmla="*/ 386192 w 747906"/>
                <a:gd name="connsiteY6" fmla="*/ 0 h 810458"/>
                <a:gd name="connsiteX7" fmla="*/ 747906 w 747906"/>
                <a:gd name="connsiteY7" fmla="*/ 266526 h 810458"/>
                <a:gd name="connsiteX8" fmla="*/ 291004 w 747906"/>
                <a:gd name="connsiteY8" fmla="*/ 484100 h 810458"/>
                <a:gd name="connsiteX9" fmla="*/ 497698 w 747906"/>
                <a:gd name="connsiteY9" fmla="*/ 617363 h 810458"/>
                <a:gd name="connsiteX10" fmla="*/ 712551 w 747906"/>
                <a:gd name="connsiteY10" fmla="*/ 557530 h 810458"/>
                <a:gd name="connsiteX11" fmla="*/ 388912 w 747906"/>
                <a:gd name="connsiteY11" fmla="*/ 810458 h 810458"/>
                <a:gd name="connsiteX12" fmla="*/ 0 w 747906"/>
                <a:gd name="connsiteY12" fmla="*/ 413389 h 810458"/>
                <a:gd name="connsiteX13" fmla="*/ 386192 w 747906"/>
                <a:gd name="connsiteY13" fmla="*/ 0 h 810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7906" h="810458">
                  <a:moveTo>
                    <a:pt x="394818" y="163222"/>
                  </a:moveTo>
                  <a:cubicBezTo>
                    <a:pt x="381772" y="163179"/>
                    <a:pt x="368514" y="166579"/>
                    <a:pt x="356275" y="174058"/>
                  </a:cubicBezTo>
                  <a:cubicBezTo>
                    <a:pt x="299162" y="212133"/>
                    <a:pt x="282844" y="291003"/>
                    <a:pt x="274685" y="356275"/>
                  </a:cubicBezTo>
                  <a:cubicBezTo>
                    <a:pt x="274685" y="364434"/>
                    <a:pt x="369873" y="358994"/>
                    <a:pt x="375313" y="358994"/>
                  </a:cubicBezTo>
                  <a:cubicBezTo>
                    <a:pt x="432425" y="345396"/>
                    <a:pt x="473220" y="301881"/>
                    <a:pt x="473220" y="239329"/>
                  </a:cubicBezTo>
                  <a:cubicBezTo>
                    <a:pt x="471181" y="194455"/>
                    <a:pt x="433956" y="163349"/>
                    <a:pt x="394818" y="163222"/>
                  </a:cubicBezTo>
                  <a:close/>
                  <a:moveTo>
                    <a:pt x="386192" y="0"/>
                  </a:moveTo>
                  <a:cubicBezTo>
                    <a:pt x="519455" y="0"/>
                    <a:pt x="747906" y="65272"/>
                    <a:pt x="747906" y="266526"/>
                  </a:cubicBezTo>
                  <a:cubicBezTo>
                    <a:pt x="747906" y="467782"/>
                    <a:pt x="538493" y="484100"/>
                    <a:pt x="291004" y="484100"/>
                  </a:cubicBezTo>
                  <a:cubicBezTo>
                    <a:pt x="291004" y="484100"/>
                    <a:pt x="326359" y="617363"/>
                    <a:pt x="497698" y="617363"/>
                  </a:cubicBezTo>
                  <a:cubicBezTo>
                    <a:pt x="669036" y="617363"/>
                    <a:pt x="712551" y="557530"/>
                    <a:pt x="712551" y="557530"/>
                  </a:cubicBezTo>
                  <a:cubicBezTo>
                    <a:pt x="712551" y="557530"/>
                    <a:pt x="696233" y="810458"/>
                    <a:pt x="388912" y="810458"/>
                  </a:cubicBezTo>
                  <a:cubicBezTo>
                    <a:pt x="212134" y="810458"/>
                    <a:pt x="0" y="677195"/>
                    <a:pt x="0" y="413389"/>
                  </a:cubicBezTo>
                  <a:cubicBezTo>
                    <a:pt x="0" y="176778"/>
                    <a:pt x="163180" y="0"/>
                    <a:pt x="386192" y="0"/>
                  </a:cubicBezTo>
                  <a:close/>
                </a:path>
              </a:pathLst>
            </a:custGeom>
            <a:grpFill/>
            <a:ln w="27168"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90C5D19E-44B9-47C2-88FB-DD0FD6751E82}"/>
                </a:ext>
              </a:extLst>
            </p:cNvPr>
            <p:cNvSpPr/>
            <p:nvPr/>
          </p:nvSpPr>
          <p:spPr>
            <a:xfrm>
              <a:off x="7988882" y="2362895"/>
              <a:ext cx="747906" cy="810458"/>
            </a:xfrm>
            <a:custGeom>
              <a:avLst/>
              <a:gdLst>
                <a:gd name="connsiteX0" fmla="*/ 394818 w 747906"/>
                <a:gd name="connsiteY0" fmla="*/ 163222 h 810458"/>
                <a:gd name="connsiteX1" fmla="*/ 356275 w 747906"/>
                <a:gd name="connsiteY1" fmla="*/ 174058 h 810458"/>
                <a:gd name="connsiteX2" fmla="*/ 274685 w 747906"/>
                <a:gd name="connsiteY2" fmla="*/ 356275 h 810458"/>
                <a:gd name="connsiteX3" fmla="*/ 375313 w 747906"/>
                <a:gd name="connsiteY3" fmla="*/ 358994 h 810458"/>
                <a:gd name="connsiteX4" fmla="*/ 473220 w 747906"/>
                <a:gd name="connsiteY4" fmla="*/ 239329 h 810458"/>
                <a:gd name="connsiteX5" fmla="*/ 394818 w 747906"/>
                <a:gd name="connsiteY5" fmla="*/ 163222 h 810458"/>
                <a:gd name="connsiteX6" fmla="*/ 386192 w 747906"/>
                <a:gd name="connsiteY6" fmla="*/ 0 h 810458"/>
                <a:gd name="connsiteX7" fmla="*/ 747906 w 747906"/>
                <a:gd name="connsiteY7" fmla="*/ 266526 h 810458"/>
                <a:gd name="connsiteX8" fmla="*/ 291004 w 747906"/>
                <a:gd name="connsiteY8" fmla="*/ 484100 h 810458"/>
                <a:gd name="connsiteX9" fmla="*/ 497697 w 747906"/>
                <a:gd name="connsiteY9" fmla="*/ 617363 h 810458"/>
                <a:gd name="connsiteX10" fmla="*/ 712551 w 747906"/>
                <a:gd name="connsiteY10" fmla="*/ 557530 h 810458"/>
                <a:gd name="connsiteX11" fmla="*/ 388911 w 747906"/>
                <a:gd name="connsiteY11" fmla="*/ 810458 h 810458"/>
                <a:gd name="connsiteX12" fmla="*/ 0 w 747906"/>
                <a:gd name="connsiteY12" fmla="*/ 413389 h 810458"/>
                <a:gd name="connsiteX13" fmla="*/ 386192 w 747906"/>
                <a:gd name="connsiteY13" fmla="*/ 0 h 810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7906" h="810458">
                  <a:moveTo>
                    <a:pt x="394818" y="163222"/>
                  </a:moveTo>
                  <a:cubicBezTo>
                    <a:pt x="381772" y="163179"/>
                    <a:pt x="368514" y="166579"/>
                    <a:pt x="356275" y="174058"/>
                  </a:cubicBezTo>
                  <a:cubicBezTo>
                    <a:pt x="299162" y="212133"/>
                    <a:pt x="282844" y="291003"/>
                    <a:pt x="274685" y="356275"/>
                  </a:cubicBezTo>
                  <a:cubicBezTo>
                    <a:pt x="274685" y="364434"/>
                    <a:pt x="369873" y="358994"/>
                    <a:pt x="375313" y="358994"/>
                  </a:cubicBezTo>
                  <a:cubicBezTo>
                    <a:pt x="432426" y="345396"/>
                    <a:pt x="473220" y="301881"/>
                    <a:pt x="473220" y="239329"/>
                  </a:cubicBezTo>
                  <a:cubicBezTo>
                    <a:pt x="471181" y="194455"/>
                    <a:pt x="433955" y="163349"/>
                    <a:pt x="394818" y="163222"/>
                  </a:cubicBezTo>
                  <a:close/>
                  <a:moveTo>
                    <a:pt x="386192" y="0"/>
                  </a:moveTo>
                  <a:cubicBezTo>
                    <a:pt x="519455" y="0"/>
                    <a:pt x="747906" y="65272"/>
                    <a:pt x="747906" y="266526"/>
                  </a:cubicBezTo>
                  <a:cubicBezTo>
                    <a:pt x="747906" y="467782"/>
                    <a:pt x="538492" y="484100"/>
                    <a:pt x="291004" y="484100"/>
                  </a:cubicBezTo>
                  <a:cubicBezTo>
                    <a:pt x="291004" y="484100"/>
                    <a:pt x="326359" y="617363"/>
                    <a:pt x="497697" y="617363"/>
                  </a:cubicBezTo>
                  <a:cubicBezTo>
                    <a:pt x="669036" y="617363"/>
                    <a:pt x="712551" y="557530"/>
                    <a:pt x="712551" y="557530"/>
                  </a:cubicBezTo>
                  <a:cubicBezTo>
                    <a:pt x="712551" y="557530"/>
                    <a:pt x="696233" y="810458"/>
                    <a:pt x="388911" y="810458"/>
                  </a:cubicBezTo>
                  <a:cubicBezTo>
                    <a:pt x="212133" y="810458"/>
                    <a:pt x="0" y="677195"/>
                    <a:pt x="0" y="413389"/>
                  </a:cubicBezTo>
                  <a:cubicBezTo>
                    <a:pt x="0" y="176778"/>
                    <a:pt x="163180" y="0"/>
                    <a:pt x="386192" y="0"/>
                  </a:cubicBezTo>
                  <a:close/>
                </a:path>
              </a:pathLst>
            </a:custGeom>
            <a:grpFill/>
            <a:ln w="27168"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40F3DC35-BDFC-4A00-83D5-790D24E6A5C9}"/>
                </a:ext>
              </a:extLst>
            </p:cNvPr>
            <p:cNvSpPr/>
            <p:nvPr/>
          </p:nvSpPr>
          <p:spPr>
            <a:xfrm>
              <a:off x="8683414" y="2274801"/>
              <a:ext cx="897487" cy="951879"/>
            </a:xfrm>
            <a:custGeom>
              <a:avLst/>
              <a:gdLst>
                <a:gd name="connsiteX0" fmla="*/ 580988 w 897487"/>
                <a:gd name="connsiteY0" fmla="*/ 667381 h 951879"/>
                <a:gd name="connsiteX1" fmla="*/ 409649 w 897487"/>
                <a:gd name="connsiteY1" fmla="*/ 667381 h 951879"/>
                <a:gd name="connsiteX2" fmla="*/ 591866 w 897487"/>
                <a:gd name="connsiteY2" fmla="*/ 525959 h 951879"/>
                <a:gd name="connsiteX3" fmla="*/ 842075 w 897487"/>
                <a:gd name="connsiteY3" fmla="*/ 123450 h 951879"/>
                <a:gd name="connsiteX4" fmla="*/ 842075 w 897487"/>
                <a:gd name="connsiteY4" fmla="*/ 123450 h 951879"/>
                <a:gd name="connsiteX5" fmla="*/ 798560 w 897487"/>
                <a:gd name="connsiteY5" fmla="*/ 58178 h 951879"/>
                <a:gd name="connsiteX6" fmla="*/ 746887 w 897487"/>
                <a:gd name="connsiteY6" fmla="*/ 107132 h 951879"/>
                <a:gd name="connsiteX7" fmla="*/ 697933 w 897487"/>
                <a:gd name="connsiteY7" fmla="*/ 115291 h 951879"/>
                <a:gd name="connsiteX8" fmla="*/ 219273 w 897487"/>
                <a:gd name="connsiteY8" fmla="*/ 115291 h 951879"/>
                <a:gd name="connsiteX9" fmla="*/ 102328 w 897487"/>
                <a:gd name="connsiteY9" fmla="*/ 224077 h 951879"/>
                <a:gd name="connsiteX10" fmla="*/ 213834 w 897487"/>
                <a:gd name="connsiteY10" fmla="*/ 332863 h 951879"/>
                <a:gd name="connsiteX11" fmla="*/ 485800 w 897487"/>
                <a:gd name="connsiteY11" fmla="*/ 335583 h 951879"/>
                <a:gd name="connsiteX12" fmla="*/ 134964 w 897487"/>
                <a:gd name="connsiteY12" fmla="*/ 615708 h 951879"/>
                <a:gd name="connsiteX13" fmla="*/ 61533 w 897487"/>
                <a:gd name="connsiteY13" fmla="*/ 884953 h 951879"/>
                <a:gd name="connsiteX14" fmla="*/ 398771 w 897487"/>
                <a:gd name="connsiteY14" fmla="*/ 806083 h 951879"/>
                <a:gd name="connsiteX15" fmla="*/ 529314 w 897487"/>
                <a:gd name="connsiteY15" fmla="*/ 863196 h 951879"/>
                <a:gd name="connsiteX16" fmla="*/ 782242 w 897487"/>
                <a:gd name="connsiteY16" fmla="*/ 607549 h 951879"/>
                <a:gd name="connsiteX17" fmla="*/ 580988 w 897487"/>
                <a:gd name="connsiteY17" fmla="*/ 667381 h 95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7487" h="951879">
                  <a:moveTo>
                    <a:pt x="580988" y="667381"/>
                  </a:moveTo>
                  <a:lnTo>
                    <a:pt x="409649" y="667381"/>
                  </a:lnTo>
                  <a:cubicBezTo>
                    <a:pt x="423248" y="667381"/>
                    <a:pt x="548352" y="561314"/>
                    <a:pt x="591866" y="525959"/>
                  </a:cubicBezTo>
                  <a:cubicBezTo>
                    <a:pt x="700653" y="433491"/>
                    <a:pt x="899188" y="297508"/>
                    <a:pt x="842075" y="123450"/>
                  </a:cubicBezTo>
                  <a:lnTo>
                    <a:pt x="842075" y="123450"/>
                  </a:lnTo>
                  <a:cubicBezTo>
                    <a:pt x="831197" y="82655"/>
                    <a:pt x="798560" y="58178"/>
                    <a:pt x="798560" y="58178"/>
                  </a:cubicBezTo>
                  <a:cubicBezTo>
                    <a:pt x="798560" y="58178"/>
                    <a:pt x="787682" y="90814"/>
                    <a:pt x="746887" y="107132"/>
                  </a:cubicBezTo>
                  <a:cubicBezTo>
                    <a:pt x="730569" y="109852"/>
                    <a:pt x="714251" y="115291"/>
                    <a:pt x="697933" y="115291"/>
                  </a:cubicBezTo>
                  <a:cubicBezTo>
                    <a:pt x="684334" y="115291"/>
                    <a:pt x="219273" y="115291"/>
                    <a:pt x="219273" y="115291"/>
                  </a:cubicBezTo>
                  <a:cubicBezTo>
                    <a:pt x="156721" y="115291"/>
                    <a:pt x="105048" y="166964"/>
                    <a:pt x="102328" y="224077"/>
                  </a:cubicBezTo>
                  <a:cubicBezTo>
                    <a:pt x="102328" y="283910"/>
                    <a:pt x="151282" y="332863"/>
                    <a:pt x="213834" y="332863"/>
                  </a:cubicBezTo>
                  <a:lnTo>
                    <a:pt x="485800" y="335583"/>
                  </a:lnTo>
                  <a:cubicBezTo>
                    <a:pt x="360695" y="406294"/>
                    <a:pt x="211114" y="487884"/>
                    <a:pt x="134964" y="615708"/>
                  </a:cubicBezTo>
                  <a:cubicBezTo>
                    <a:pt x="91449" y="689138"/>
                    <a:pt x="45215" y="800644"/>
                    <a:pt x="61533" y="884953"/>
                  </a:cubicBezTo>
                  <a:cubicBezTo>
                    <a:pt x="121366" y="830560"/>
                    <a:pt x="279106" y="778887"/>
                    <a:pt x="398771" y="806083"/>
                  </a:cubicBezTo>
                  <a:cubicBezTo>
                    <a:pt x="445005" y="814242"/>
                    <a:pt x="491239" y="838719"/>
                    <a:pt x="529314" y="863196"/>
                  </a:cubicBezTo>
                  <a:cubicBezTo>
                    <a:pt x="755046" y="1004618"/>
                    <a:pt x="891029" y="727213"/>
                    <a:pt x="782242" y="607549"/>
                  </a:cubicBezTo>
                  <a:cubicBezTo>
                    <a:pt x="784962" y="607549"/>
                    <a:pt x="722410" y="667381"/>
                    <a:pt x="580988" y="667381"/>
                  </a:cubicBezTo>
                </a:path>
              </a:pathLst>
            </a:custGeom>
            <a:grpFill/>
            <a:ln w="27168"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97B9056E-3FD3-4B12-BB92-AA766A6D0EB3}"/>
                </a:ext>
              </a:extLst>
            </p:cNvPr>
            <p:cNvSpPr/>
            <p:nvPr/>
          </p:nvSpPr>
          <p:spPr>
            <a:xfrm>
              <a:off x="2624650" y="1948442"/>
              <a:ext cx="1903761" cy="1577400"/>
            </a:xfrm>
            <a:custGeom>
              <a:avLst/>
              <a:gdLst>
                <a:gd name="connsiteX0" fmla="*/ 1559430 w 1903760"/>
                <a:gd name="connsiteY0" fmla="*/ 1165078 h 1577399"/>
                <a:gd name="connsiteX1" fmla="*/ 1369054 w 1903760"/>
                <a:gd name="connsiteY1" fmla="*/ 593950 h 1577399"/>
                <a:gd name="connsiteX2" fmla="*/ 1483279 w 1903760"/>
                <a:gd name="connsiteY2" fmla="*/ 126170 h 1577399"/>
                <a:gd name="connsiteX3" fmla="*/ 1311941 w 1903760"/>
                <a:gd name="connsiteY3" fmla="*/ 58178 h 1577399"/>
                <a:gd name="connsiteX4" fmla="*/ 1078050 w 1903760"/>
                <a:gd name="connsiteY4" fmla="*/ 205040 h 1577399"/>
                <a:gd name="connsiteX5" fmla="*/ 846879 w 1903760"/>
                <a:gd name="connsiteY5" fmla="*/ 523239 h 1577399"/>
                <a:gd name="connsiteX6" fmla="*/ 645624 w 1903760"/>
                <a:gd name="connsiteY6" fmla="*/ 210479 h 1577399"/>
                <a:gd name="connsiteX7" fmla="*/ 455248 w 1903760"/>
                <a:gd name="connsiteY7" fmla="*/ 63617 h 1577399"/>
                <a:gd name="connsiteX8" fmla="*/ 234956 w 1903760"/>
                <a:gd name="connsiteY8" fmla="*/ 137048 h 1577399"/>
                <a:gd name="connsiteX9" fmla="*/ 316546 w 1903760"/>
                <a:gd name="connsiteY9" fmla="*/ 588511 h 1577399"/>
                <a:gd name="connsiteX10" fmla="*/ 58178 w 1903760"/>
                <a:gd name="connsiteY10" fmla="*/ 1072610 h 1577399"/>
                <a:gd name="connsiteX11" fmla="*/ 474286 w 1903760"/>
                <a:gd name="connsiteY11" fmla="*/ 1020936 h 1577399"/>
                <a:gd name="connsiteX12" fmla="*/ 555876 w 1903760"/>
                <a:gd name="connsiteY12" fmla="*/ 572193 h 1577399"/>
                <a:gd name="connsiteX13" fmla="*/ 830561 w 1903760"/>
                <a:gd name="connsiteY13" fmla="*/ 993740 h 1577399"/>
                <a:gd name="connsiteX14" fmla="*/ 1140602 w 1903760"/>
                <a:gd name="connsiteY14" fmla="*/ 574913 h 1577399"/>
                <a:gd name="connsiteX15" fmla="*/ 1567589 w 1903760"/>
                <a:gd name="connsiteY15" fmla="*/ 1526792 h 1577399"/>
                <a:gd name="connsiteX16" fmla="*/ 1866751 w 1903760"/>
                <a:gd name="connsiteY16" fmla="*/ 1322818 h 1577399"/>
                <a:gd name="connsiteX17" fmla="*/ 1559430 w 1903760"/>
                <a:gd name="connsiteY17" fmla="*/ 1165078 h 1577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3760" h="1577399">
                  <a:moveTo>
                    <a:pt x="1559430" y="1165078"/>
                  </a:moveTo>
                  <a:cubicBezTo>
                    <a:pt x="1420727" y="1012777"/>
                    <a:pt x="1377213" y="762569"/>
                    <a:pt x="1369054" y="593950"/>
                  </a:cubicBezTo>
                  <a:cubicBezTo>
                    <a:pt x="1360895" y="449809"/>
                    <a:pt x="1369054" y="199600"/>
                    <a:pt x="1483279" y="126170"/>
                  </a:cubicBezTo>
                  <a:cubicBezTo>
                    <a:pt x="1445204" y="77216"/>
                    <a:pt x="1369054" y="58178"/>
                    <a:pt x="1311941" y="58178"/>
                  </a:cubicBezTo>
                  <a:cubicBezTo>
                    <a:pt x="1184117" y="58178"/>
                    <a:pt x="1121565" y="142488"/>
                    <a:pt x="1078050" y="205040"/>
                  </a:cubicBezTo>
                  <a:cubicBezTo>
                    <a:pt x="1064452" y="224077"/>
                    <a:pt x="846879" y="523239"/>
                    <a:pt x="846879" y="523239"/>
                  </a:cubicBezTo>
                  <a:cubicBezTo>
                    <a:pt x="846879" y="523239"/>
                    <a:pt x="667382" y="243115"/>
                    <a:pt x="645624" y="210479"/>
                  </a:cubicBezTo>
                  <a:cubicBezTo>
                    <a:pt x="615708" y="164245"/>
                    <a:pt x="555876" y="77216"/>
                    <a:pt x="455248" y="63617"/>
                  </a:cubicBezTo>
                  <a:cubicBezTo>
                    <a:pt x="411734" y="58178"/>
                    <a:pt x="297508" y="52739"/>
                    <a:pt x="234956" y="137048"/>
                  </a:cubicBezTo>
                  <a:cubicBezTo>
                    <a:pt x="341023" y="221357"/>
                    <a:pt x="338303" y="438930"/>
                    <a:pt x="316546" y="588511"/>
                  </a:cubicBezTo>
                  <a:cubicBezTo>
                    <a:pt x="248554" y="1031815"/>
                    <a:pt x="58178" y="1072610"/>
                    <a:pt x="58178" y="1072610"/>
                  </a:cubicBezTo>
                  <a:cubicBezTo>
                    <a:pt x="156086" y="1333696"/>
                    <a:pt x="403575" y="1230350"/>
                    <a:pt x="474286" y="1020936"/>
                  </a:cubicBezTo>
                  <a:cubicBezTo>
                    <a:pt x="520520" y="884953"/>
                    <a:pt x="550436" y="713615"/>
                    <a:pt x="555876" y="572193"/>
                  </a:cubicBezTo>
                  <a:lnTo>
                    <a:pt x="830561" y="993740"/>
                  </a:lnTo>
                  <a:cubicBezTo>
                    <a:pt x="830561" y="993740"/>
                    <a:pt x="1140602" y="574913"/>
                    <a:pt x="1140602" y="574913"/>
                  </a:cubicBezTo>
                  <a:cubicBezTo>
                    <a:pt x="1088929" y="1314659"/>
                    <a:pt x="1344577" y="1526792"/>
                    <a:pt x="1567589" y="1526792"/>
                  </a:cubicBezTo>
                  <a:cubicBezTo>
                    <a:pt x="1790601" y="1526792"/>
                    <a:pt x="1866751" y="1322818"/>
                    <a:pt x="1866751" y="1322818"/>
                  </a:cubicBezTo>
                  <a:cubicBezTo>
                    <a:pt x="1744367" y="1314659"/>
                    <a:pt x="1641019" y="1252107"/>
                    <a:pt x="1559430" y="1165078"/>
                  </a:cubicBezTo>
                </a:path>
              </a:pathLst>
            </a:custGeom>
            <a:grpFill/>
            <a:ln w="27168"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F8A7D4AB-0D3A-45BF-B6FF-718837994BFC}"/>
                </a:ext>
              </a:extLst>
            </p:cNvPr>
            <p:cNvSpPr/>
            <p:nvPr/>
          </p:nvSpPr>
          <p:spPr>
            <a:xfrm>
              <a:off x="4792218" y="3234839"/>
              <a:ext cx="271966" cy="652717"/>
            </a:xfrm>
            <a:custGeom>
              <a:avLst/>
              <a:gdLst>
                <a:gd name="connsiteX0" fmla="*/ 88095 w 271965"/>
                <a:gd name="connsiteY0" fmla="*/ 120730 h 652717"/>
                <a:gd name="connsiteX1" fmla="*/ 93534 w 271965"/>
                <a:gd name="connsiteY1" fmla="*/ 153366 h 652717"/>
                <a:gd name="connsiteX2" fmla="*/ 93534 w 271965"/>
                <a:gd name="connsiteY2" fmla="*/ 544997 h 652717"/>
                <a:gd name="connsiteX3" fmla="*/ 156086 w 271965"/>
                <a:gd name="connsiteY3" fmla="*/ 604829 h 652717"/>
                <a:gd name="connsiteX4" fmla="*/ 221358 w 271965"/>
                <a:gd name="connsiteY4" fmla="*/ 544997 h 652717"/>
                <a:gd name="connsiteX5" fmla="*/ 221358 w 271965"/>
                <a:gd name="connsiteY5" fmla="*/ 194161 h 652717"/>
                <a:gd name="connsiteX6" fmla="*/ 210479 w 271965"/>
                <a:gd name="connsiteY6" fmla="*/ 109852 h 652717"/>
                <a:gd name="connsiteX7" fmla="*/ 118011 w 271965"/>
                <a:gd name="connsiteY7" fmla="*/ 58178 h 652717"/>
                <a:gd name="connsiteX8" fmla="*/ 58178 w 271965"/>
                <a:gd name="connsiteY8" fmla="*/ 88094 h 652717"/>
                <a:gd name="connsiteX9" fmla="*/ 88095 w 271965"/>
                <a:gd name="connsiteY9" fmla="*/ 120730 h 65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965" h="652717">
                  <a:moveTo>
                    <a:pt x="88095" y="120730"/>
                  </a:moveTo>
                  <a:cubicBezTo>
                    <a:pt x="90814" y="131609"/>
                    <a:pt x="90814" y="142487"/>
                    <a:pt x="93534" y="153366"/>
                  </a:cubicBezTo>
                  <a:cubicBezTo>
                    <a:pt x="93534" y="156086"/>
                    <a:pt x="93534" y="542277"/>
                    <a:pt x="93534" y="544997"/>
                  </a:cubicBezTo>
                  <a:cubicBezTo>
                    <a:pt x="93534" y="577632"/>
                    <a:pt x="123450" y="604829"/>
                    <a:pt x="156086" y="604829"/>
                  </a:cubicBezTo>
                  <a:cubicBezTo>
                    <a:pt x="188722" y="607548"/>
                    <a:pt x="221358" y="577632"/>
                    <a:pt x="221358" y="544997"/>
                  </a:cubicBezTo>
                  <a:cubicBezTo>
                    <a:pt x="221358" y="539557"/>
                    <a:pt x="221358" y="194161"/>
                    <a:pt x="221358" y="194161"/>
                  </a:cubicBezTo>
                  <a:cubicBezTo>
                    <a:pt x="221358" y="164245"/>
                    <a:pt x="224078" y="134329"/>
                    <a:pt x="210479" y="109852"/>
                  </a:cubicBezTo>
                  <a:cubicBezTo>
                    <a:pt x="196881" y="79935"/>
                    <a:pt x="158806" y="58178"/>
                    <a:pt x="118011" y="58178"/>
                  </a:cubicBezTo>
                  <a:cubicBezTo>
                    <a:pt x="79936" y="58178"/>
                    <a:pt x="58178" y="88094"/>
                    <a:pt x="58178" y="88094"/>
                  </a:cubicBezTo>
                  <a:cubicBezTo>
                    <a:pt x="58178" y="88094"/>
                    <a:pt x="77216" y="93534"/>
                    <a:pt x="88095" y="120730"/>
                  </a:cubicBezTo>
                </a:path>
              </a:pathLst>
            </a:custGeom>
            <a:grpFill/>
            <a:ln w="27168"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357AAF36-2ED9-4503-A053-9B273874025F}"/>
                </a:ext>
              </a:extLst>
            </p:cNvPr>
            <p:cNvSpPr/>
            <p:nvPr/>
          </p:nvSpPr>
          <p:spPr>
            <a:xfrm>
              <a:off x="8751819" y="3234667"/>
              <a:ext cx="271966" cy="652717"/>
            </a:xfrm>
            <a:custGeom>
              <a:avLst/>
              <a:gdLst>
                <a:gd name="connsiteX0" fmla="*/ 191663 w 271965"/>
                <a:gd name="connsiteY0" fmla="*/ 542449 h 652717"/>
                <a:gd name="connsiteX1" fmla="*/ 186224 w 271965"/>
                <a:gd name="connsiteY1" fmla="*/ 509813 h 652717"/>
                <a:gd name="connsiteX2" fmla="*/ 186224 w 271965"/>
                <a:gd name="connsiteY2" fmla="*/ 118183 h 652717"/>
                <a:gd name="connsiteX3" fmla="*/ 123672 w 271965"/>
                <a:gd name="connsiteY3" fmla="*/ 58350 h 652717"/>
                <a:gd name="connsiteX4" fmla="*/ 58400 w 271965"/>
                <a:gd name="connsiteY4" fmla="*/ 118183 h 652717"/>
                <a:gd name="connsiteX5" fmla="*/ 58400 w 271965"/>
                <a:gd name="connsiteY5" fmla="*/ 469018 h 652717"/>
                <a:gd name="connsiteX6" fmla="*/ 69279 w 271965"/>
                <a:gd name="connsiteY6" fmla="*/ 553328 h 652717"/>
                <a:gd name="connsiteX7" fmla="*/ 161747 w 271965"/>
                <a:gd name="connsiteY7" fmla="*/ 605001 h 652717"/>
                <a:gd name="connsiteX8" fmla="*/ 221580 w 271965"/>
                <a:gd name="connsiteY8" fmla="*/ 575085 h 652717"/>
                <a:gd name="connsiteX9" fmla="*/ 191663 w 271965"/>
                <a:gd name="connsiteY9" fmla="*/ 542449 h 65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965" h="652717">
                  <a:moveTo>
                    <a:pt x="191663" y="542449"/>
                  </a:moveTo>
                  <a:cubicBezTo>
                    <a:pt x="188944" y="531570"/>
                    <a:pt x="186224" y="520692"/>
                    <a:pt x="186224" y="509813"/>
                  </a:cubicBezTo>
                  <a:cubicBezTo>
                    <a:pt x="186224" y="507093"/>
                    <a:pt x="186224" y="120902"/>
                    <a:pt x="186224" y="118183"/>
                  </a:cubicBezTo>
                  <a:cubicBezTo>
                    <a:pt x="186224" y="85547"/>
                    <a:pt x="156308" y="58350"/>
                    <a:pt x="123672" y="58350"/>
                  </a:cubicBezTo>
                  <a:cubicBezTo>
                    <a:pt x="91036" y="55631"/>
                    <a:pt x="58400" y="85547"/>
                    <a:pt x="58400" y="118183"/>
                  </a:cubicBezTo>
                  <a:cubicBezTo>
                    <a:pt x="58400" y="123622"/>
                    <a:pt x="58400" y="469018"/>
                    <a:pt x="58400" y="469018"/>
                  </a:cubicBezTo>
                  <a:cubicBezTo>
                    <a:pt x="58400" y="498934"/>
                    <a:pt x="55680" y="528851"/>
                    <a:pt x="69279" y="553328"/>
                  </a:cubicBezTo>
                  <a:cubicBezTo>
                    <a:pt x="82877" y="583244"/>
                    <a:pt x="120953" y="605001"/>
                    <a:pt x="161747" y="605001"/>
                  </a:cubicBezTo>
                  <a:cubicBezTo>
                    <a:pt x="199822" y="605001"/>
                    <a:pt x="221580" y="575085"/>
                    <a:pt x="221580" y="575085"/>
                  </a:cubicBezTo>
                  <a:cubicBezTo>
                    <a:pt x="221580" y="575085"/>
                    <a:pt x="202542" y="566926"/>
                    <a:pt x="191663" y="542449"/>
                  </a:cubicBezTo>
                </a:path>
              </a:pathLst>
            </a:custGeom>
            <a:grpFill/>
            <a:ln w="27168"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D58D98E4-59B9-4C68-BC80-515A3C993A09}"/>
                </a:ext>
              </a:extLst>
            </p:cNvPr>
            <p:cNvSpPr/>
            <p:nvPr/>
          </p:nvSpPr>
          <p:spPr>
            <a:xfrm>
              <a:off x="6320666" y="3416868"/>
              <a:ext cx="435145" cy="462341"/>
            </a:xfrm>
            <a:custGeom>
              <a:avLst/>
              <a:gdLst>
                <a:gd name="connsiteX0" fmla="*/ 302948 w 435145"/>
                <a:gd name="connsiteY0" fmla="*/ 74684 h 462341"/>
                <a:gd name="connsiteX1" fmla="*/ 186003 w 435145"/>
                <a:gd name="connsiteY1" fmla="*/ 148115 h 462341"/>
                <a:gd name="connsiteX2" fmla="*/ 186003 w 435145"/>
                <a:gd name="connsiteY2" fmla="*/ 148115 h 462341"/>
                <a:gd name="connsiteX3" fmla="*/ 186003 w 435145"/>
                <a:gd name="connsiteY3" fmla="*/ 115479 h 462341"/>
                <a:gd name="connsiteX4" fmla="*/ 123450 w 435145"/>
                <a:gd name="connsiteY4" fmla="*/ 58366 h 462341"/>
                <a:gd name="connsiteX5" fmla="*/ 58178 w 435145"/>
                <a:gd name="connsiteY5" fmla="*/ 115479 h 462341"/>
                <a:gd name="connsiteX6" fmla="*/ 58178 w 435145"/>
                <a:gd name="connsiteY6" fmla="*/ 362967 h 462341"/>
                <a:gd name="connsiteX7" fmla="*/ 120730 w 435145"/>
                <a:gd name="connsiteY7" fmla="*/ 422800 h 462341"/>
                <a:gd name="connsiteX8" fmla="*/ 186003 w 435145"/>
                <a:gd name="connsiteY8" fmla="*/ 362967 h 462341"/>
                <a:gd name="connsiteX9" fmla="*/ 186003 w 435145"/>
                <a:gd name="connsiteY9" fmla="*/ 213386 h 462341"/>
                <a:gd name="connsiteX10" fmla="*/ 186003 w 435145"/>
                <a:gd name="connsiteY10" fmla="*/ 213386 h 462341"/>
                <a:gd name="connsiteX11" fmla="*/ 229517 w 435145"/>
                <a:gd name="connsiteY11" fmla="*/ 161713 h 462341"/>
                <a:gd name="connsiteX12" fmla="*/ 259433 w 435145"/>
                <a:gd name="connsiteY12" fmla="*/ 194349 h 462341"/>
                <a:gd name="connsiteX13" fmla="*/ 259433 w 435145"/>
                <a:gd name="connsiteY13" fmla="*/ 362967 h 462341"/>
                <a:gd name="connsiteX14" fmla="*/ 321985 w 435145"/>
                <a:gd name="connsiteY14" fmla="*/ 422800 h 462341"/>
                <a:gd name="connsiteX15" fmla="*/ 387257 w 435145"/>
                <a:gd name="connsiteY15" fmla="*/ 362967 h 462341"/>
                <a:gd name="connsiteX16" fmla="*/ 387257 w 435145"/>
                <a:gd name="connsiteY16" fmla="*/ 273219 h 462341"/>
                <a:gd name="connsiteX17" fmla="*/ 302948 w 435145"/>
                <a:gd name="connsiteY17" fmla="*/ 74684 h 462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5145" h="462341">
                  <a:moveTo>
                    <a:pt x="302948" y="74684"/>
                  </a:moveTo>
                  <a:cubicBezTo>
                    <a:pt x="234956" y="74684"/>
                    <a:pt x="196881" y="131797"/>
                    <a:pt x="186003" y="148115"/>
                  </a:cubicBezTo>
                  <a:lnTo>
                    <a:pt x="186003" y="148115"/>
                  </a:lnTo>
                  <a:cubicBezTo>
                    <a:pt x="186003" y="129077"/>
                    <a:pt x="186003" y="115479"/>
                    <a:pt x="186003" y="115479"/>
                  </a:cubicBezTo>
                  <a:cubicBezTo>
                    <a:pt x="186003" y="82843"/>
                    <a:pt x="156086" y="58366"/>
                    <a:pt x="123450" y="58366"/>
                  </a:cubicBezTo>
                  <a:cubicBezTo>
                    <a:pt x="90814" y="55646"/>
                    <a:pt x="58178" y="82843"/>
                    <a:pt x="58178" y="115479"/>
                  </a:cubicBezTo>
                  <a:cubicBezTo>
                    <a:pt x="58178" y="120918"/>
                    <a:pt x="58178" y="360248"/>
                    <a:pt x="58178" y="362967"/>
                  </a:cubicBezTo>
                  <a:cubicBezTo>
                    <a:pt x="58178" y="395603"/>
                    <a:pt x="88095" y="422800"/>
                    <a:pt x="120730" y="422800"/>
                  </a:cubicBezTo>
                  <a:cubicBezTo>
                    <a:pt x="153366" y="425519"/>
                    <a:pt x="186003" y="395603"/>
                    <a:pt x="186003" y="362967"/>
                  </a:cubicBezTo>
                  <a:cubicBezTo>
                    <a:pt x="186003" y="360248"/>
                    <a:pt x="186003" y="281378"/>
                    <a:pt x="186003" y="213386"/>
                  </a:cubicBezTo>
                  <a:lnTo>
                    <a:pt x="186003" y="213386"/>
                  </a:lnTo>
                  <a:cubicBezTo>
                    <a:pt x="191442" y="186190"/>
                    <a:pt x="205040" y="161713"/>
                    <a:pt x="229517" y="161713"/>
                  </a:cubicBezTo>
                  <a:cubicBezTo>
                    <a:pt x="259433" y="161713"/>
                    <a:pt x="259433" y="194349"/>
                    <a:pt x="259433" y="194349"/>
                  </a:cubicBezTo>
                  <a:lnTo>
                    <a:pt x="259433" y="362967"/>
                  </a:lnTo>
                  <a:cubicBezTo>
                    <a:pt x="259433" y="395603"/>
                    <a:pt x="289349" y="422800"/>
                    <a:pt x="321985" y="422800"/>
                  </a:cubicBezTo>
                  <a:cubicBezTo>
                    <a:pt x="354621" y="425519"/>
                    <a:pt x="387257" y="395603"/>
                    <a:pt x="387257" y="362967"/>
                  </a:cubicBezTo>
                  <a:lnTo>
                    <a:pt x="387257" y="273219"/>
                  </a:lnTo>
                  <a:cubicBezTo>
                    <a:pt x="387257" y="183470"/>
                    <a:pt x="395416" y="71964"/>
                    <a:pt x="302948" y="74684"/>
                  </a:cubicBezTo>
                </a:path>
              </a:pathLst>
            </a:custGeom>
            <a:grpFill/>
            <a:ln w="27168"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C7164176-83AE-4A47-A6A3-8BCBF45CB661}"/>
                </a:ext>
              </a:extLst>
            </p:cNvPr>
            <p:cNvSpPr/>
            <p:nvPr/>
          </p:nvSpPr>
          <p:spPr>
            <a:xfrm>
              <a:off x="7960620" y="3416868"/>
              <a:ext cx="435145" cy="462341"/>
            </a:xfrm>
            <a:custGeom>
              <a:avLst/>
              <a:gdLst>
                <a:gd name="connsiteX0" fmla="*/ 302948 w 435145"/>
                <a:gd name="connsiteY0" fmla="*/ 74684 h 462341"/>
                <a:gd name="connsiteX1" fmla="*/ 186002 w 435145"/>
                <a:gd name="connsiteY1" fmla="*/ 148115 h 462341"/>
                <a:gd name="connsiteX2" fmla="*/ 186002 w 435145"/>
                <a:gd name="connsiteY2" fmla="*/ 148115 h 462341"/>
                <a:gd name="connsiteX3" fmla="*/ 186002 w 435145"/>
                <a:gd name="connsiteY3" fmla="*/ 115479 h 462341"/>
                <a:gd name="connsiteX4" fmla="*/ 123450 w 435145"/>
                <a:gd name="connsiteY4" fmla="*/ 58366 h 462341"/>
                <a:gd name="connsiteX5" fmla="*/ 58178 w 435145"/>
                <a:gd name="connsiteY5" fmla="*/ 115479 h 462341"/>
                <a:gd name="connsiteX6" fmla="*/ 58178 w 435145"/>
                <a:gd name="connsiteY6" fmla="*/ 362967 h 462341"/>
                <a:gd name="connsiteX7" fmla="*/ 120730 w 435145"/>
                <a:gd name="connsiteY7" fmla="*/ 422800 h 462341"/>
                <a:gd name="connsiteX8" fmla="*/ 186002 w 435145"/>
                <a:gd name="connsiteY8" fmla="*/ 362967 h 462341"/>
                <a:gd name="connsiteX9" fmla="*/ 186002 w 435145"/>
                <a:gd name="connsiteY9" fmla="*/ 213386 h 462341"/>
                <a:gd name="connsiteX10" fmla="*/ 186002 w 435145"/>
                <a:gd name="connsiteY10" fmla="*/ 213386 h 462341"/>
                <a:gd name="connsiteX11" fmla="*/ 229517 w 435145"/>
                <a:gd name="connsiteY11" fmla="*/ 161713 h 462341"/>
                <a:gd name="connsiteX12" fmla="*/ 259433 w 435145"/>
                <a:gd name="connsiteY12" fmla="*/ 194349 h 462341"/>
                <a:gd name="connsiteX13" fmla="*/ 259433 w 435145"/>
                <a:gd name="connsiteY13" fmla="*/ 362967 h 462341"/>
                <a:gd name="connsiteX14" fmla="*/ 321985 w 435145"/>
                <a:gd name="connsiteY14" fmla="*/ 422800 h 462341"/>
                <a:gd name="connsiteX15" fmla="*/ 387257 w 435145"/>
                <a:gd name="connsiteY15" fmla="*/ 362967 h 462341"/>
                <a:gd name="connsiteX16" fmla="*/ 387257 w 435145"/>
                <a:gd name="connsiteY16" fmla="*/ 273219 h 462341"/>
                <a:gd name="connsiteX17" fmla="*/ 302948 w 435145"/>
                <a:gd name="connsiteY17" fmla="*/ 74684 h 462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5145" h="462341">
                  <a:moveTo>
                    <a:pt x="302948" y="74684"/>
                  </a:moveTo>
                  <a:cubicBezTo>
                    <a:pt x="234956" y="74684"/>
                    <a:pt x="196881" y="131797"/>
                    <a:pt x="186002" y="148115"/>
                  </a:cubicBezTo>
                  <a:lnTo>
                    <a:pt x="186002" y="148115"/>
                  </a:lnTo>
                  <a:cubicBezTo>
                    <a:pt x="186002" y="129077"/>
                    <a:pt x="186002" y="115479"/>
                    <a:pt x="186002" y="115479"/>
                  </a:cubicBezTo>
                  <a:cubicBezTo>
                    <a:pt x="186002" y="82843"/>
                    <a:pt x="156086" y="58366"/>
                    <a:pt x="123450" y="58366"/>
                  </a:cubicBezTo>
                  <a:cubicBezTo>
                    <a:pt x="90814" y="55646"/>
                    <a:pt x="58178" y="82843"/>
                    <a:pt x="58178" y="115479"/>
                  </a:cubicBezTo>
                  <a:cubicBezTo>
                    <a:pt x="58178" y="120918"/>
                    <a:pt x="58178" y="360248"/>
                    <a:pt x="58178" y="362967"/>
                  </a:cubicBezTo>
                  <a:cubicBezTo>
                    <a:pt x="58178" y="395603"/>
                    <a:pt x="88095" y="422800"/>
                    <a:pt x="120730" y="422800"/>
                  </a:cubicBezTo>
                  <a:cubicBezTo>
                    <a:pt x="153366" y="425519"/>
                    <a:pt x="186002" y="395603"/>
                    <a:pt x="186002" y="362967"/>
                  </a:cubicBezTo>
                  <a:cubicBezTo>
                    <a:pt x="186002" y="360248"/>
                    <a:pt x="186002" y="281378"/>
                    <a:pt x="186002" y="213386"/>
                  </a:cubicBezTo>
                  <a:lnTo>
                    <a:pt x="186002" y="213386"/>
                  </a:lnTo>
                  <a:cubicBezTo>
                    <a:pt x="191442" y="186190"/>
                    <a:pt x="205040" y="161713"/>
                    <a:pt x="229517" y="161713"/>
                  </a:cubicBezTo>
                  <a:cubicBezTo>
                    <a:pt x="259433" y="161713"/>
                    <a:pt x="259433" y="194349"/>
                    <a:pt x="259433" y="194349"/>
                  </a:cubicBezTo>
                  <a:lnTo>
                    <a:pt x="259433" y="362967"/>
                  </a:lnTo>
                  <a:cubicBezTo>
                    <a:pt x="259433" y="395603"/>
                    <a:pt x="289349" y="422800"/>
                    <a:pt x="321985" y="422800"/>
                  </a:cubicBezTo>
                  <a:cubicBezTo>
                    <a:pt x="354621" y="425519"/>
                    <a:pt x="387257" y="395603"/>
                    <a:pt x="387257" y="362967"/>
                  </a:cubicBezTo>
                  <a:lnTo>
                    <a:pt x="387257" y="273219"/>
                  </a:lnTo>
                  <a:cubicBezTo>
                    <a:pt x="384537" y="183470"/>
                    <a:pt x="395416" y="71964"/>
                    <a:pt x="302948" y="74684"/>
                  </a:cubicBezTo>
                </a:path>
              </a:pathLst>
            </a:custGeom>
            <a:grpFill/>
            <a:ln w="27168"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63C62A8C-DE7F-4188-AF14-418669EC6126}"/>
                </a:ext>
              </a:extLst>
            </p:cNvPr>
            <p:cNvSpPr/>
            <p:nvPr/>
          </p:nvSpPr>
          <p:spPr>
            <a:xfrm>
              <a:off x="5020669" y="3416868"/>
              <a:ext cx="435145" cy="462341"/>
            </a:xfrm>
            <a:custGeom>
              <a:avLst/>
              <a:gdLst>
                <a:gd name="connsiteX0" fmla="*/ 302948 w 435145"/>
                <a:gd name="connsiteY0" fmla="*/ 74684 h 462341"/>
                <a:gd name="connsiteX1" fmla="*/ 186002 w 435145"/>
                <a:gd name="connsiteY1" fmla="*/ 148115 h 462341"/>
                <a:gd name="connsiteX2" fmla="*/ 186002 w 435145"/>
                <a:gd name="connsiteY2" fmla="*/ 148115 h 462341"/>
                <a:gd name="connsiteX3" fmla="*/ 186002 w 435145"/>
                <a:gd name="connsiteY3" fmla="*/ 115479 h 462341"/>
                <a:gd name="connsiteX4" fmla="*/ 123450 w 435145"/>
                <a:gd name="connsiteY4" fmla="*/ 58366 h 462341"/>
                <a:gd name="connsiteX5" fmla="*/ 58178 w 435145"/>
                <a:gd name="connsiteY5" fmla="*/ 115479 h 462341"/>
                <a:gd name="connsiteX6" fmla="*/ 58178 w 435145"/>
                <a:gd name="connsiteY6" fmla="*/ 362967 h 462341"/>
                <a:gd name="connsiteX7" fmla="*/ 120730 w 435145"/>
                <a:gd name="connsiteY7" fmla="*/ 422800 h 462341"/>
                <a:gd name="connsiteX8" fmla="*/ 186002 w 435145"/>
                <a:gd name="connsiteY8" fmla="*/ 362967 h 462341"/>
                <a:gd name="connsiteX9" fmla="*/ 186002 w 435145"/>
                <a:gd name="connsiteY9" fmla="*/ 213386 h 462341"/>
                <a:gd name="connsiteX10" fmla="*/ 186002 w 435145"/>
                <a:gd name="connsiteY10" fmla="*/ 213386 h 462341"/>
                <a:gd name="connsiteX11" fmla="*/ 229517 w 435145"/>
                <a:gd name="connsiteY11" fmla="*/ 161713 h 462341"/>
                <a:gd name="connsiteX12" fmla="*/ 259433 w 435145"/>
                <a:gd name="connsiteY12" fmla="*/ 194349 h 462341"/>
                <a:gd name="connsiteX13" fmla="*/ 259433 w 435145"/>
                <a:gd name="connsiteY13" fmla="*/ 362967 h 462341"/>
                <a:gd name="connsiteX14" fmla="*/ 321985 w 435145"/>
                <a:gd name="connsiteY14" fmla="*/ 422800 h 462341"/>
                <a:gd name="connsiteX15" fmla="*/ 387257 w 435145"/>
                <a:gd name="connsiteY15" fmla="*/ 362967 h 462341"/>
                <a:gd name="connsiteX16" fmla="*/ 387257 w 435145"/>
                <a:gd name="connsiteY16" fmla="*/ 273219 h 462341"/>
                <a:gd name="connsiteX17" fmla="*/ 302948 w 435145"/>
                <a:gd name="connsiteY17" fmla="*/ 74684 h 462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5145" h="462341">
                  <a:moveTo>
                    <a:pt x="302948" y="74684"/>
                  </a:moveTo>
                  <a:cubicBezTo>
                    <a:pt x="234956" y="74684"/>
                    <a:pt x="196881" y="131797"/>
                    <a:pt x="186002" y="148115"/>
                  </a:cubicBezTo>
                  <a:lnTo>
                    <a:pt x="186002" y="148115"/>
                  </a:lnTo>
                  <a:cubicBezTo>
                    <a:pt x="186002" y="129077"/>
                    <a:pt x="186002" y="115479"/>
                    <a:pt x="186002" y="115479"/>
                  </a:cubicBezTo>
                  <a:cubicBezTo>
                    <a:pt x="186002" y="82843"/>
                    <a:pt x="156086" y="58366"/>
                    <a:pt x="123450" y="58366"/>
                  </a:cubicBezTo>
                  <a:cubicBezTo>
                    <a:pt x="90814" y="55646"/>
                    <a:pt x="58178" y="82843"/>
                    <a:pt x="58178" y="115479"/>
                  </a:cubicBezTo>
                  <a:cubicBezTo>
                    <a:pt x="58178" y="120918"/>
                    <a:pt x="58178" y="360248"/>
                    <a:pt x="58178" y="362967"/>
                  </a:cubicBezTo>
                  <a:cubicBezTo>
                    <a:pt x="58178" y="395603"/>
                    <a:pt x="88094" y="422800"/>
                    <a:pt x="120730" y="422800"/>
                  </a:cubicBezTo>
                  <a:cubicBezTo>
                    <a:pt x="153366" y="425519"/>
                    <a:pt x="186002" y="395603"/>
                    <a:pt x="186002" y="362967"/>
                  </a:cubicBezTo>
                  <a:cubicBezTo>
                    <a:pt x="186002" y="360248"/>
                    <a:pt x="186002" y="281378"/>
                    <a:pt x="186002" y="213386"/>
                  </a:cubicBezTo>
                  <a:lnTo>
                    <a:pt x="186002" y="213386"/>
                  </a:lnTo>
                  <a:cubicBezTo>
                    <a:pt x="191442" y="186190"/>
                    <a:pt x="205040" y="161713"/>
                    <a:pt x="229517" y="161713"/>
                  </a:cubicBezTo>
                  <a:cubicBezTo>
                    <a:pt x="259433" y="161713"/>
                    <a:pt x="259433" y="194349"/>
                    <a:pt x="259433" y="194349"/>
                  </a:cubicBezTo>
                  <a:lnTo>
                    <a:pt x="259433" y="362967"/>
                  </a:lnTo>
                  <a:cubicBezTo>
                    <a:pt x="259433" y="395603"/>
                    <a:pt x="289349" y="422800"/>
                    <a:pt x="321985" y="422800"/>
                  </a:cubicBezTo>
                  <a:cubicBezTo>
                    <a:pt x="354621" y="425519"/>
                    <a:pt x="387257" y="395603"/>
                    <a:pt x="387257" y="362967"/>
                  </a:cubicBezTo>
                  <a:lnTo>
                    <a:pt x="387257" y="273219"/>
                  </a:lnTo>
                  <a:cubicBezTo>
                    <a:pt x="384537" y="183470"/>
                    <a:pt x="395416" y="71964"/>
                    <a:pt x="302948" y="74684"/>
                  </a:cubicBezTo>
                </a:path>
              </a:pathLst>
            </a:custGeom>
            <a:grpFill/>
            <a:ln w="27168"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BE7401EA-BE23-4586-BF64-212EA8AA7F8E}"/>
                </a:ext>
              </a:extLst>
            </p:cNvPr>
            <p:cNvSpPr/>
            <p:nvPr/>
          </p:nvSpPr>
          <p:spPr>
            <a:xfrm>
              <a:off x="7616289" y="3475234"/>
              <a:ext cx="364436" cy="364434"/>
            </a:xfrm>
            <a:custGeom>
              <a:avLst/>
              <a:gdLst>
                <a:gd name="connsiteX0" fmla="*/ 182218 w 364436"/>
                <a:gd name="connsiteY0" fmla="*/ 73431 h 364434"/>
                <a:gd name="connsiteX1" fmla="*/ 130544 w 364436"/>
                <a:gd name="connsiteY1" fmla="*/ 179499 h 364434"/>
                <a:gd name="connsiteX2" fmla="*/ 182218 w 364436"/>
                <a:gd name="connsiteY2" fmla="*/ 285565 h 364434"/>
                <a:gd name="connsiteX3" fmla="*/ 233891 w 364436"/>
                <a:gd name="connsiteY3" fmla="*/ 179499 h 364434"/>
                <a:gd name="connsiteX4" fmla="*/ 182218 w 364436"/>
                <a:gd name="connsiteY4" fmla="*/ 73431 h 364434"/>
                <a:gd name="connsiteX5" fmla="*/ 182219 w 364436"/>
                <a:gd name="connsiteY5" fmla="*/ 0 h 364434"/>
                <a:gd name="connsiteX6" fmla="*/ 364436 w 364436"/>
                <a:gd name="connsiteY6" fmla="*/ 182217 h 364434"/>
                <a:gd name="connsiteX7" fmla="*/ 182219 w 364436"/>
                <a:gd name="connsiteY7" fmla="*/ 364434 h 364434"/>
                <a:gd name="connsiteX8" fmla="*/ 0 w 364436"/>
                <a:gd name="connsiteY8" fmla="*/ 182217 h 364434"/>
                <a:gd name="connsiteX9" fmla="*/ 182219 w 364436"/>
                <a:gd name="connsiteY9" fmla="*/ 0 h 364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436" h="364434">
                  <a:moveTo>
                    <a:pt x="182218" y="73431"/>
                  </a:moveTo>
                  <a:cubicBezTo>
                    <a:pt x="152302" y="76151"/>
                    <a:pt x="130544" y="114226"/>
                    <a:pt x="130544" y="179499"/>
                  </a:cubicBezTo>
                  <a:cubicBezTo>
                    <a:pt x="130544" y="244770"/>
                    <a:pt x="146862" y="285565"/>
                    <a:pt x="182218" y="285565"/>
                  </a:cubicBezTo>
                  <a:cubicBezTo>
                    <a:pt x="217573" y="285565"/>
                    <a:pt x="233891" y="247490"/>
                    <a:pt x="233891" y="179499"/>
                  </a:cubicBezTo>
                  <a:cubicBezTo>
                    <a:pt x="233891" y="114226"/>
                    <a:pt x="212134" y="73431"/>
                    <a:pt x="182218" y="73431"/>
                  </a:cubicBezTo>
                  <a:close/>
                  <a:moveTo>
                    <a:pt x="182219" y="0"/>
                  </a:moveTo>
                  <a:cubicBezTo>
                    <a:pt x="282846" y="0"/>
                    <a:pt x="364436" y="81590"/>
                    <a:pt x="364436" y="182217"/>
                  </a:cubicBezTo>
                  <a:cubicBezTo>
                    <a:pt x="364436" y="282844"/>
                    <a:pt x="282846" y="364434"/>
                    <a:pt x="182219" y="364434"/>
                  </a:cubicBezTo>
                  <a:cubicBezTo>
                    <a:pt x="81591" y="364434"/>
                    <a:pt x="0" y="282844"/>
                    <a:pt x="0" y="182217"/>
                  </a:cubicBezTo>
                  <a:cubicBezTo>
                    <a:pt x="0" y="81590"/>
                    <a:pt x="81591" y="0"/>
                    <a:pt x="182219" y="0"/>
                  </a:cubicBezTo>
                  <a:close/>
                </a:path>
              </a:pathLst>
            </a:custGeom>
            <a:grpFill/>
            <a:ln w="27168"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D4294688-FDA4-41BD-87F1-1E6BB53B672C}"/>
                </a:ext>
              </a:extLst>
            </p:cNvPr>
            <p:cNvSpPr/>
            <p:nvPr/>
          </p:nvSpPr>
          <p:spPr>
            <a:xfrm>
              <a:off x="6743101" y="3464184"/>
              <a:ext cx="372773" cy="375657"/>
            </a:xfrm>
            <a:custGeom>
              <a:avLst/>
              <a:gdLst>
                <a:gd name="connsiteX0" fmla="*/ 176958 w 372773"/>
                <a:gd name="connsiteY0" fmla="*/ 98080 h 375657"/>
                <a:gd name="connsiteX1" fmla="*/ 125284 w 372773"/>
                <a:gd name="connsiteY1" fmla="*/ 190548 h 375657"/>
                <a:gd name="connsiteX2" fmla="*/ 176958 w 372773"/>
                <a:gd name="connsiteY2" fmla="*/ 283017 h 375657"/>
                <a:gd name="connsiteX3" fmla="*/ 228631 w 372773"/>
                <a:gd name="connsiteY3" fmla="*/ 190548 h 375657"/>
                <a:gd name="connsiteX4" fmla="*/ 176958 w 372773"/>
                <a:gd name="connsiteY4" fmla="*/ 98080 h 375657"/>
                <a:gd name="connsiteX5" fmla="*/ 307501 w 372773"/>
                <a:gd name="connsiteY5" fmla="*/ 172 h 375657"/>
                <a:gd name="connsiteX6" fmla="*/ 372773 w 372773"/>
                <a:gd name="connsiteY6" fmla="*/ 62724 h 375657"/>
                <a:gd name="connsiteX7" fmla="*/ 372773 w 372773"/>
                <a:gd name="connsiteY7" fmla="*/ 312934 h 375657"/>
                <a:gd name="connsiteX8" fmla="*/ 302061 w 372773"/>
                <a:gd name="connsiteY8" fmla="*/ 375486 h 375657"/>
                <a:gd name="connsiteX9" fmla="*/ 239509 w 372773"/>
                <a:gd name="connsiteY9" fmla="*/ 326532 h 375657"/>
                <a:gd name="connsiteX10" fmla="*/ 179677 w 372773"/>
                <a:gd name="connsiteY10" fmla="*/ 370046 h 375657"/>
                <a:gd name="connsiteX11" fmla="*/ 70890 w 372773"/>
                <a:gd name="connsiteY11" fmla="*/ 353728 h 375657"/>
                <a:gd name="connsiteX12" fmla="*/ 128003 w 372773"/>
                <a:gd name="connsiteY12" fmla="*/ 11051 h 375657"/>
                <a:gd name="connsiteX13" fmla="*/ 236790 w 372773"/>
                <a:gd name="connsiteY13" fmla="*/ 70883 h 375657"/>
                <a:gd name="connsiteX14" fmla="*/ 236790 w 372773"/>
                <a:gd name="connsiteY14" fmla="*/ 62724 h 375657"/>
                <a:gd name="connsiteX15" fmla="*/ 307501 w 372773"/>
                <a:gd name="connsiteY15" fmla="*/ 172 h 375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2773" h="375657">
                  <a:moveTo>
                    <a:pt x="176958" y="98080"/>
                  </a:moveTo>
                  <a:cubicBezTo>
                    <a:pt x="147042" y="100800"/>
                    <a:pt x="125284" y="133436"/>
                    <a:pt x="125284" y="190548"/>
                  </a:cubicBezTo>
                  <a:cubicBezTo>
                    <a:pt x="125284" y="247661"/>
                    <a:pt x="141602" y="283017"/>
                    <a:pt x="176958" y="283017"/>
                  </a:cubicBezTo>
                  <a:cubicBezTo>
                    <a:pt x="212314" y="283017"/>
                    <a:pt x="228631" y="247661"/>
                    <a:pt x="228631" y="190548"/>
                  </a:cubicBezTo>
                  <a:cubicBezTo>
                    <a:pt x="228631" y="133436"/>
                    <a:pt x="206874" y="98080"/>
                    <a:pt x="176958" y="98080"/>
                  </a:cubicBezTo>
                  <a:close/>
                  <a:moveTo>
                    <a:pt x="307501" y="172"/>
                  </a:moveTo>
                  <a:cubicBezTo>
                    <a:pt x="340137" y="172"/>
                    <a:pt x="372773" y="30088"/>
                    <a:pt x="372773" y="62724"/>
                  </a:cubicBezTo>
                  <a:cubicBezTo>
                    <a:pt x="372773" y="65444"/>
                    <a:pt x="372773" y="307494"/>
                    <a:pt x="372773" y="312934"/>
                  </a:cubicBezTo>
                  <a:cubicBezTo>
                    <a:pt x="370053" y="348289"/>
                    <a:pt x="337417" y="378205"/>
                    <a:pt x="302061" y="375486"/>
                  </a:cubicBezTo>
                  <a:cubicBezTo>
                    <a:pt x="274865" y="372766"/>
                    <a:pt x="247668" y="353728"/>
                    <a:pt x="239509" y="326532"/>
                  </a:cubicBezTo>
                  <a:cubicBezTo>
                    <a:pt x="225911" y="348289"/>
                    <a:pt x="198715" y="364607"/>
                    <a:pt x="179677" y="370046"/>
                  </a:cubicBezTo>
                  <a:cubicBezTo>
                    <a:pt x="147041" y="378205"/>
                    <a:pt x="100807" y="372766"/>
                    <a:pt x="70890" y="353728"/>
                  </a:cubicBezTo>
                  <a:cubicBezTo>
                    <a:pt x="-35177" y="285737"/>
                    <a:pt x="-27018" y="11051"/>
                    <a:pt x="128003" y="11051"/>
                  </a:cubicBezTo>
                  <a:cubicBezTo>
                    <a:pt x="185116" y="11051"/>
                    <a:pt x="220471" y="49126"/>
                    <a:pt x="236790" y="70883"/>
                  </a:cubicBezTo>
                  <a:cubicBezTo>
                    <a:pt x="236790" y="70883"/>
                    <a:pt x="236790" y="65444"/>
                    <a:pt x="236790" y="62724"/>
                  </a:cubicBezTo>
                  <a:cubicBezTo>
                    <a:pt x="239509" y="27369"/>
                    <a:pt x="272145" y="-2547"/>
                    <a:pt x="307501" y="172"/>
                  </a:cubicBezTo>
                  <a:close/>
                </a:path>
              </a:pathLst>
            </a:custGeom>
            <a:grpFill/>
            <a:ln w="27168"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841A37E5-AF3C-4FC3-BB5B-40BF1A5055BD}"/>
                </a:ext>
              </a:extLst>
            </p:cNvPr>
            <p:cNvSpPr/>
            <p:nvPr/>
          </p:nvSpPr>
          <p:spPr>
            <a:xfrm>
              <a:off x="8380335" y="3464184"/>
              <a:ext cx="372772" cy="375657"/>
            </a:xfrm>
            <a:custGeom>
              <a:avLst/>
              <a:gdLst>
                <a:gd name="connsiteX0" fmla="*/ 176957 w 372772"/>
                <a:gd name="connsiteY0" fmla="*/ 98080 h 375657"/>
                <a:gd name="connsiteX1" fmla="*/ 125282 w 372772"/>
                <a:gd name="connsiteY1" fmla="*/ 190548 h 375657"/>
                <a:gd name="connsiteX2" fmla="*/ 176957 w 372772"/>
                <a:gd name="connsiteY2" fmla="*/ 283017 h 375657"/>
                <a:gd name="connsiteX3" fmla="*/ 228630 w 372772"/>
                <a:gd name="connsiteY3" fmla="*/ 190548 h 375657"/>
                <a:gd name="connsiteX4" fmla="*/ 176957 w 372772"/>
                <a:gd name="connsiteY4" fmla="*/ 98080 h 375657"/>
                <a:gd name="connsiteX5" fmla="*/ 307501 w 372772"/>
                <a:gd name="connsiteY5" fmla="*/ 172 h 375657"/>
                <a:gd name="connsiteX6" fmla="*/ 372772 w 372772"/>
                <a:gd name="connsiteY6" fmla="*/ 62724 h 375657"/>
                <a:gd name="connsiteX7" fmla="*/ 372772 w 372772"/>
                <a:gd name="connsiteY7" fmla="*/ 312934 h 375657"/>
                <a:gd name="connsiteX8" fmla="*/ 302062 w 372772"/>
                <a:gd name="connsiteY8" fmla="*/ 375486 h 375657"/>
                <a:gd name="connsiteX9" fmla="*/ 239509 w 372772"/>
                <a:gd name="connsiteY9" fmla="*/ 326532 h 375657"/>
                <a:gd name="connsiteX10" fmla="*/ 179677 w 372772"/>
                <a:gd name="connsiteY10" fmla="*/ 370046 h 375657"/>
                <a:gd name="connsiteX11" fmla="*/ 70890 w 372772"/>
                <a:gd name="connsiteY11" fmla="*/ 353728 h 375657"/>
                <a:gd name="connsiteX12" fmla="*/ 128002 w 372772"/>
                <a:gd name="connsiteY12" fmla="*/ 11051 h 375657"/>
                <a:gd name="connsiteX13" fmla="*/ 236790 w 372772"/>
                <a:gd name="connsiteY13" fmla="*/ 70883 h 375657"/>
                <a:gd name="connsiteX14" fmla="*/ 236790 w 372772"/>
                <a:gd name="connsiteY14" fmla="*/ 62724 h 375657"/>
                <a:gd name="connsiteX15" fmla="*/ 307501 w 372772"/>
                <a:gd name="connsiteY15" fmla="*/ 172 h 375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2772" h="375657">
                  <a:moveTo>
                    <a:pt x="176957" y="98080"/>
                  </a:moveTo>
                  <a:cubicBezTo>
                    <a:pt x="147039" y="100800"/>
                    <a:pt x="125282" y="133436"/>
                    <a:pt x="125282" y="190548"/>
                  </a:cubicBezTo>
                  <a:cubicBezTo>
                    <a:pt x="125282" y="247661"/>
                    <a:pt x="141600" y="283017"/>
                    <a:pt x="176957" y="283017"/>
                  </a:cubicBezTo>
                  <a:cubicBezTo>
                    <a:pt x="212312" y="283017"/>
                    <a:pt x="228630" y="247661"/>
                    <a:pt x="228630" y="190548"/>
                  </a:cubicBezTo>
                  <a:cubicBezTo>
                    <a:pt x="228630" y="133436"/>
                    <a:pt x="206873" y="98080"/>
                    <a:pt x="176957" y="98080"/>
                  </a:cubicBezTo>
                  <a:close/>
                  <a:moveTo>
                    <a:pt x="307501" y="172"/>
                  </a:moveTo>
                  <a:cubicBezTo>
                    <a:pt x="340137" y="172"/>
                    <a:pt x="372772" y="30088"/>
                    <a:pt x="372772" y="62724"/>
                  </a:cubicBezTo>
                  <a:cubicBezTo>
                    <a:pt x="372772" y="65444"/>
                    <a:pt x="372772" y="307494"/>
                    <a:pt x="372772" y="312934"/>
                  </a:cubicBezTo>
                  <a:cubicBezTo>
                    <a:pt x="370053" y="348289"/>
                    <a:pt x="337417" y="378205"/>
                    <a:pt x="302062" y="375486"/>
                  </a:cubicBezTo>
                  <a:cubicBezTo>
                    <a:pt x="274865" y="372766"/>
                    <a:pt x="247668" y="353728"/>
                    <a:pt x="239509" y="326532"/>
                  </a:cubicBezTo>
                  <a:cubicBezTo>
                    <a:pt x="228630" y="348289"/>
                    <a:pt x="198714" y="364607"/>
                    <a:pt x="179677" y="370046"/>
                  </a:cubicBezTo>
                  <a:cubicBezTo>
                    <a:pt x="147040" y="378205"/>
                    <a:pt x="100806" y="372766"/>
                    <a:pt x="70890" y="353728"/>
                  </a:cubicBezTo>
                  <a:cubicBezTo>
                    <a:pt x="-35177" y="285737"/>
                    <a:pt x="-27018" y="11051"/>
                    <a:pt x="128002" y="11051"/>
                  </a:cubicBezTo>
                  <a:cubicBezTo>
                    <a:pt x="185116" y="11051"/>
                    <a:pt x="220472" y="49126"/>
                    <a:pt x="236790" y="70883"/>
                  </a:cubicBezTo>
                  <a:cubicBezTo>
                    <a:pt x="236790" y="70883"/>
                    <a:pt x="236790" y="65444"/>
                    <a:pt x="236790" y="62724"/>
                  </a:cubicBezTo>
                  <a:cubicBezTo>
                    <a:pt x="239509" y="27369"/>
                    <a:pt x="272145" y="-2547"/>
                    <a:pt x="307501" y="172"/>
                  </a:cubicBezTo>
                  <a:close/>
                </a:path>
              </a:pathLst>
            </a:custGeom>
            <a:grpFill/>
            <a:ln w="27168"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19537D0A-64AF-42A4-B6C9-86ED69D89DE8}"/>
                </a:ext>
              </a:extLst>
            </p:cNvPr>
            <p:cNvSpPr/>
            <p:nvPr/>
          </p:nvSpPr>
          <p:spPr>
            <a:xfrm>
              <a:off x="7389492" y="3444253"/>
              <a:ext cx="217573" cy="435145"/>
            </a:xfrm>
            <a:custGeom>
              <a:avLst/>
              <a:gdLst>
                <a:gd name="connsiteX0" fmla="*/ 186002 w 217572"/>
                <a:gd name="connsiteY0" fmla="*/ 118011 h 435144"/>
                <a:gd name="connsiteX1" fmla="*/ 128890 w 217572"/>
                <a:gd name="connsiteY1" fmla="*/ 58178 h 435144"/>
                <a:gd name="connsiteX2" fmla="*/ 123450 w 217572"/>
                <a:gd name="connsiteY2" fmla="*/ 58178 h 435144"/>
                <a:gd name="connsiteX3" fmla="*/ 58178 w 217572"/>
                <a:gd name="connsiteY3" fmla="*/ 115291 h 435144"/>
                <a:gd name="connsiteX4" fmla="*/ 58178 w 217572"/>
                <a:gd name="connsiteY4" fmla="*/ 232236 h 435144"/>
                <a:gd name="connsiteX5" fmla="*/ 58178 w 217572"/>
                <a:gd name="connsiteY5" fmla="*/ 232236 h 435144"/>
                <a:gd name="connsiteX6" fmla="*/ 58178 w 217572"/>
                <a:gd name="connsiteY6" fmla="*/ 335583 h 435144"/>
                <a:gd name="connsiteX7" fmla="*/ 115291 w 217572"/>
                <a:gd name="connsiteY7" fmla="*/ 395415 h 435144"/>
                <a:gd name="connsiteX8" fmla="*/ 120730 w 217572"/>
                <a:gd name="connsiteY8" fmla="*/ 395415 h 435144"/>
                <a:gd name="connsiteX9" fmla="*/ 186002 w 217572"/>
                <a:gd name="connsiteY9" fmla="*/ 338303 h 435144"/>
                <a:gd name="connsiteX10" fmla="*/ 186002 w 217572"/>
                <a:gd name="connsiteY10" fmla="*/ 240395 h 435144"/>
                <a:gd name="connsiteX11" fmla="*/ 186002 w 217572"/>
                <a:gd name="connsiteY11" fmla="*/ 240395 h 435144"/>
                <a:gd name="connsiteX12" fmla="*/ 186002 w 217572"/>
                <a:gd name="connsiteY12" fmla="*/ 118011 h 435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7572" h="435144">
                  <a:moveTo>
                    <a:pt x="186002" y="118011"/>
                  </a:moveTo>
                  <a:cubicBezTo>
                    <a:pt x="183283" y="85375"/>
                    <a:pt x="158806" y="60898"/>
                    <a:pt x="128890" y="58178"/>
                  </a:cubicBezTo>
                  <a:cubicBezTo>
                    <a:pt x="126170" y="58178"/>
                    <a:pt x="126170" y="58178"/>
                    <a:pt x="123450" y="58178"/>
                  </a:cubicBezTo>
                  <a:cubicBezTo>
                    <a:pt x="96254" y="58178"/>
                    <a:pt x="58178" y="82655"/>
                    <a:pt x="58178" y="115291"/>
                  </a:cubicBezTo>
                  <a:lnTo>
                    <a:pt x="58178" y="232236"/>
                  </a:lnTo>
                  <a:lnTo>
                    <a:pt x="58178" y="232236"/>
                  </a:lnTo>
                  <a:cubicBezTo>
                    <a:pt x="58178" y="270311"/>
                    <a:pt x="58178" y="335583"/>
                    <a:pt x="58178" y="335583"/>
                  </a:cubicBezTo>
                  <a:cubicBezTo>
                    <a:pt x="60898" y="368219"/>
                    <a:pt x="85375" y="392696"/>
                    <a:pt x="115291" y="395415"/>
                  </a:cubicBezTo>
                  <a:cubicBezTo>
                    <a:pt x="118011" y="395415"/>
                    <a:pt x="118011" y="395415"/>
                    <a:pt x="120730" y="395415"/>
                  </a:cubicBezTo>
                  <a:cubicBezTo>
                    <a:pt x="147927" y="395415"/>
                    <a:pt x="186002" y="370938"/>
                    <a:pt x="186002" y="338303"/>
                  </a:cubicBezTo>
                  <a:lnTo>
                    <a:pt x="186002" y="240395"/>
                  </a:lnTo>
                  <a:lnTo>
                    <a:pt x="186002" y="240395"/>
                  </a:lnTo>
                  <a:cubicBezTo>
                    <a:pt x="186002" y="202320"/>
                    <a:pt x="186002" y="118011"/>
                    <a:pt x="186002" y="118011"/>
                  </a:cubicBezTo>
                </a:path>
              </a:pathLst>
            </a:custGeom>
            <a:grpFill/>
            <a:ln w="27168"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0BCCAD08-F474-49E8-B734-BF5DA3CD16AE}"/>
                </a:ext>
              </a:extLst>
            </p:cNvPr>
            <p:cNvSpPr/>
            <p:nvPr/>
          </p:nvSpPr>
          <p:spPr>
            <a:xfrm>
              <a:off x="7392212" y="3280901"/>
              <a:ext cx="217573" cy="217572"/>
            </a:xfrm>
            <a:custGeom>
              <a:avLst/>
              <a:gdLst>
                <a:gd name="connsiteX0" fmla="*/ 183282 w 217572"/>
                <a:gd name="connsiteY0" fmla="*/ 120902 h 217572"/>
                <a:gd name="connsiteX1" fmla="*/ 120730 w 217572"/>
                <a:gd name="connsiteY1" fmla="*/ 183454 h 217572"/>
                <a:gd name="connsiteX2" fmla="*/ 58178 w 217572"/>
                <a:gd name="connsiteY2" fmla="*/ 120902 h 217572"/>
                <a:gd name="connsiteX3" fmla="*/ 120730 w 217572"/>
                <a:gd name="connsiteY3" fmla="*/ 58350 h 217572"/>
                <a:gd name="connsiteX4" fmla="*/ 183282 w 217572"/>
                <a:gd name="connsiteY4" fmla="*/ 120902 h 217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572" h="217572">
                  <a:moveTo>
                    <a:pt x="183282" y="120902"/>
                  </a:moveTo>
                  <a:cubicBezTo>
                    <a:pt x="183282" y="156258"/>
                    <a:pt x="156086" y="183454"/>
                    <a:pt x="120730" y="183454"/>
                  </a:cubicBezTo>
                  <a:cubicBezTo>
                    <a:pt x="85375" y="183454"/>
                    <a:pt x="58178" y="156258"/>
                    <a:pt x="58178" y="120902"/>
                  </a:cubicBezTo>
                  <a:cubicBezTo>
                    <a:pt x="58178" y="85547"/>
                    <a:pt x="85375" y="58350"/>
                    <a:pt x="120730" y="58350"/>
                  </a:cubicBezTo>
                  <a:cubicBezTo>
                    <a:pt x="153366" y="55630"/>
                    <a:pt x="183282" y="85547"/>
                    <a:pt x="183282" y="120902"/>
                  </a:cubicBezTo>
                </a:path>
              </a:pathLst>
            </a:custGeom>
            <a:grpFill/>
            <a:ln w="27168"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E0F30E60-1118-4CFE-AF0C-D6375564D5FB}"/>
                </a:ext>
              </a:extLst>
            </p:cNvPr>
            <p:cNvSpPr/>
            <p:nvPr/>
          </p:nvSpPr>
          <p:spPr>
            <a:xfrm>
              <a:off x="6005186" y="3416884"/>
              <a:ext cx="380752" cy="462341"/>
            </a:xfrm>
            <a:custGeom>
              <a:avLst/>
              <a:gdLst>
                <a:gd name="connsiteX0" fmla="*/ 270312 w 380752"/>
                <a:gd name="connsiteY0" fmla="*/ 69229 h 462341"/>
                <a:gd name="connsiteX1" fmla="*/ 188722 w 380752"/>
                <a:gd name="connsiteY1" fmla="*/ 134501 h 462341"/>
                <a:gd name="connsiteX2" fmla="*/ 188722 w 380752"/>
                <a:gd name="connsiteY2" fmla="*/ 118183 h 462341"/>
                <a:gd name="connsiteX3" fmla="*/ 126170 w 380752"/>
                <a:gd name="connsiteY3" fmla="*/ 58350 h 462341"/>
                <a:gd name="connsiteX4" fmla="*/ 58178 w 380752"/>
                <a:gd name="connsiteY4" fmla="*/ 118183 h 462341"/>
                <a:gd name="connsiteX5" fmla="*/ 58178 w 380752"/>
                <a:gd name="connsiteY5" fmla="*/ 210651 h 462341"/>
                <a:gd name="connsiteX6" fmla="*/ 58178 w 380752"/>
                <a:gd name="connsiteY6" fmla="*/ 365671 h 462341"/>
                <a:gd name="connsiteX7" fmla="*/ 58178 w 380752"/>
                <a:gd name="connsiteY7" fmla="*/ 365671 h 462341"/>
                <a:gd name="connsiteX8" fmla="*/ 120730 w 380752"/>
                <a:gd name="connsiteY8" fmla="*/ 425504 h 462341"/>
                <a:gd name="connsiteX9" fmla="*/ 186002 w 380752"/>
                <a:gd name="connsiteY9" fmla="*/ 365671 h 462341"/>
                <a:gd name="connsiteX10" fmla="*/ 186002 w 380752"/>
                <a:gd name="connsiteY10" fmla="*/ 365671 h 462341"/>
                <a:gd name="connsiteX11" fmla="*/ 186002 w 380752"/>
                <a:gd name="connsiteY11" fmla="*/ 210651 h 462341"/>
                <a:gd name="connsiteX12" fmla="*/ 215919 w 380752"/>
                <a:gd name="connsiteY12" fmla="*/ 158978 h 462341"/>
                <a:gd name="connsiteX13" fmla="*/ 275751 w 380752"/>
                <a:gd name="connsiteY13" fmla="*/ 221530 h 462341"/>
                <a:gd name="connsiteX14" fmla="*/ 270312 w 380752"/>
                <a:gd name="connsiteY14" fmla="*/ 69229 h 462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0752" h="462341">
                  <a:moveTo>
                    <a:pt x="270312" y="69229"/>
                  </a:moveTo>
                  <a:cubicBezTo>
                    <a:pt x="232236" y="71949"/>
                    <a:pt x="213199" y="99145"/>
                    <a:pt x="188722" y="134501"/>
                  </a:cubicBezTo>
                  <a:cubicBezTo>
                    <a:pt x="188722" y="134501"/>
                    <a:pt x="188722" y="118183"/>
                    <a:pt x="188722" y="118183"/>
                  </a:cubicBezTo>
                  <a:cubicBezTo>
                    <a:pt x="188722" y="85547"/>
                    <a:pt x="158806" y="58350"/>
                    <a:pt x="126170" y="58350"/>
                  </a:cubicBezTo>
                  <a:cubicBezTo>
                    <a:pt x="93534" y="55631"/>
                    <a:pt x="60898" y="85547"/>
                    <a:pt x="58178" y="118183"/>
                  </a:cubicBezTo>
                  <a:lnTo>
                    <a:pt x="58178" y="210651"/>
                  </a:lnTo>
                  <a:lnTo>
                    <a:pt x="58178" y="365671"/>
                  </a:lnTo>
                  <a:lnTo>
                    <a:pt x="58178" y="365671"/>
                  </a:lnTo>
                  <a:cubicBezTo>
                    <a:pt x="58178" y="398307"/>
                    <a:pt x="88094" y="425504"/>
                    <a:pt x="120730" y="425504"/>
                  </a:cubicBezTo>
                  <a:cubicBezTo>
                    <a:pt x="153366" y="428224"/>
                    <a:pt x="186002" y="398307"/>
                    <a:pt x="186002" y="365671"/>
                  </a:cubicBezTo>
                  <a:lnTo>
                    <a:pt x="186002" y="365671"/>
                  </a:lnTo>
                  <a:lnTo>
                    <a:pt x="186002" y="210651"/>
                  </a:lnTo>
                  <a:cubicBezTo>
                    <a:pt x="188722" y="188894"/>
                    <a:pt x="196881" y="158978"/>
                    <a:pt x="215919" y="158978"/>
                  </a:cubicBezTo>
                  <a:cubicBezTo>
                    <a:pt x="243115" y="158978"/>
                    <a:pt x="215919" y="221530"/>
                    <a:pt x="275751" y="221530"/>
                  </a:cubicBezTo>
                  <a:cubicBezTo>
                    <a:pt x="362780" y="221530"/>
                    <a:pt x="373658" y="63790"/>
                    <a:pt x="270312" y="69229"/>
                  </a:cubicBezTo>
                </a:path>
              </a:pathLst>
            </a:custGeom>
            <a:grpFill/>
            <a:ln w="27168"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C439C845-9F81-41E0-87C3-E8944B2DAC3F}"/>
                </a:ext>
              </a:extLst>
            </p:cNvPr>
            <p:cNvSpPr/>
            <p:nvPr/>
          </p:nvSpPr>
          <p:spPr>
            <a:xfrm>
              <a:off x="5693490" y="3475234"/>
              <a:ext cx="337238" cy="364434"/>
            </a:xfrm>
            <a:custGeom>
              <a:avLst/>
              <a:gdLst>
                <a:gd name="connsiteX0" fmla="*/ 180433 w 337238"/>
                <a:gd name="connsiteY0" fmla="*/ 73984 h 364434"/>
                <a:gd name="connsiteX1" fmla="*/ 163180 w 337238"/>
                <a:gd name="connsiteY1" fmla="*/ 78870 h 364434"/>
                <a:gd name="connsiteX2" fmla="*/ 125105 w 337238"/>
                <a:gd name="connsiteY2" fmla="*/ 160461 h 364434"/>
                <a:gd name="connsiteX3" fmla="*/ 171339 w 337238"/>
                <a:gd name="connsiteY3" fmla="*/ 163180 h 364434"/>
                <a:gd name="connsiteX4" fmla="*/ 214854 w 337238"/>
                <a:gd name="connsiteY4" fmla="*/ 108787 h 364434"/>
                <a:gd name="connsiteX5" fmla="*/ 180433 w 337238"/>
                <a:gd name="connsiteY5" fmla="*/ 73984 h 364434"/>
                <a:gd name="connsiteX6" fmla="*/ 174059 w 337238"/>
                <a:gd name="connsiteY6" fmla="*/ 0 h 364434"/>
                <a:gd name="connsiteX7" fmla="*/ 337238 w 337238"/>
                <a:gd name="connsiteY7" fmla="*/ 119665 h 364434"/>
                <a:gd name="connsiteX8" fmla="*/ 133264 w 337238"/>
                <a:gd name="connsiteY8" fmla="*/ 217573 h 364434"/>
                <a:gd name="connsiteX9" fmla="*/ 225732 w 337238"/>
                <a:gd name="connsiteY9" fmla="*/ 277405 h 364434"/>
                <a:gd name="connsiteX10" fmla="*/ 320920 w 337238"/>
                <a:gd name="connsiteY10" fmla="*/ 250208 h 364434"/>
                <a:gd name="connsiteX11" fmla="*/ 174059 w 337238"/>
                <a:gd name="connsiteY11" fmla="*/ 364434 h 364434"/>
                <a:gd name="connsiteX12" fmla="*/ 0 w 337238"/>
                <a:gd name="connsiteY12" fmla="*/ 184937 h 364434"/>
                <a:gd name="connsiteX13" fmla="*/ 174059 w 337238"/>
                <a:gd name="connsiteY13" fmla="*/ 0 h 364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7238" h="364434">
                  <a:moveTo>
                    <a:pt x="180433" y="73984"/>
                  </a:moveTo>
                  <a:cubicBezTo>
                    <a:pt x="174569" y="73941"/>
                    <a:pt x="168620" y="75471"/>
                    <a:pt x="163180" y="78870"/>
                  </a:cubicBezTo>
                  <a:cubicBezTo>
                    <a:pt x="135984" y="95189"/>
                    <a:pt x="127825" y="130544"/>
                    <a:pt x="125105" y="160461"/>
                  </a:cubicBezTo>
                  <a:cubicBezTo>
                    <a:pt x="125105" y="163180"/>
                    <a:pt x="168620" y="160461"/>
                    <a:pt x="171339" y="163180"/>
                  </a:cubicBezTo>
                  <a:cubicBezTo>
                    <a:pt x="195816" y="157741"/>
                    <a:pt x="214854" y="135984"/>
                    <a:pt x="214854" y="108787"/>
                  </a:cubicBezTo>
                  <a:cubicBezTo>
                    <a:pt x="214854" y="88389"/>
                    <a:pt x="198026" y="74111"/>
                    <a:pt x="180433" y="73984"/>
                  </a:cubicBezTo>
                  <a:close/>
                  <a:moveTo>
                    <a:pt x="174059" y="0"/>
                  </a:moveTo>
                  <a:cubicBezTo>
                    <a:pt x="233891" y="0"/>
                    <a:pt x="337238" y="29916"/>
                    <a:pt x="337238" y="119665"/>
                  </a:cubicBezTo>
                  <a:cubicBezTo>
                    <a:pt x="337238" y="209414"/>
                    <a:pt x="244770" y="217573"/>
                    <a:pt x="133264" y="217573"/>
                  </a:cubicBezTo>
                  <a:cubicBezTo>
                    <a:pt x="133264" y="217573"/>
                    <a:pt x="149581" y="277405"/>
                    <a:pt x="225732" y="277405"/>
                  </a:cubicBezTo>
                  <a:cubicBezTo>
                    <a:pt x="301883" y="277405"/>
                    <a:pt x="320920" y="250208"/>
                    <a:pt x="320920" y="250208"/>
                  </a:cubicBezTo>
                  <a:cubicBezTo>
                    <a:pt x="320920" y="250208"/>
                    <a:pt x="315481" y="364434"/>
                    <a:pt x="174059" y="364434"/>
                  </a:cubicBezTo>
                  <a:cubicBezTo>
                    <a:pt x="95188" y="364434"/>
                    <a:pt x="0" y="304602"/>
                    <a:pt x="0" y="184937"/>
                  </a:cubicBezTo>
                  <a:cubicBezTo>
                    <a:pt x="0" y="78870"/>
                    <a:pt x="73431" y="0"/>
                    <a:pt x="174059" y="0"/>
                  </a:cubicBezTo>
                  <a:close/>
                </a:path>
              </a:pathLst>
            </a:custGeom>
            <a:grpFill/>
            <a:ln w="27168"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F23B99A4-E4BB-4D83-8585-CE413B12486E}"/>
                </a:ext>
              </a:extLst>
            </p:cNvPr>
            <p:cNvSpPr/>
            <p:nvPr/>
          </p:nvSpPr>
          <p:spPr>
            <a:xfrm>
              <a:off x="5376945" y="3338014"/>
              <a:ext cx="353556" cy="543931"/>
            </a:xfrm>
            <a:custGeom>
              <a:avLst/>
              <a:gdLst>
                <a:gd name="connsiteX0" fmla="*/ 311107 w 353555"/>
                <a:gd name="connsiteY0" fmla="*/ 433663 h 543931"/>
                <a:gd name="connsiteX1" fmla="*/ 215919 w 353555"/>
                <a:gd name="connsiteY1" fmla="*/ 501654 h 543931"/>
                <a:gd name="connsiteX2" fmla="*/ 98973 w 353555"/>
                <a:gd name="connsiteY2" fmla="*/ 392868 h 543931"/>
                <a:gd name="connsiteX3" fmla="*/ 98973 w 353555"/>
                <a:gd name="connsiteY3" fmla="*/ 221530 h 543931"/>
                <a:gd name="connsiteX4" fmla="*/ 82655 w 353555"/>
                <a:gd name="connsiteY4" fmla="*/ 221530 h 543931"/>
                <a:gd name="connsiteX5" fmla="*/ 58178 w 353555"/>
                <a:gd name="connsiteY5" fmla="*/ 191614 h 543931"/>
                <a:gd name="connsiteX6" fmla="*/ 85375 w 353555"/>
                <a:gd name="connsiteY6" fmla="*/ 164417 h 543931"/>
                <a:gd name="connsiteX7" fmla="*/ 101693 w 353555"/>
                <a:gd name="connsiteY7" fmla="*/ 164417 h 543931"/>
                <a:gd name="connsiteX8" fmla="*/ 101693 w 353555"/>
                <a:gd name="connsiteY8" fmla="*/ 118183 h 543931"/>
                <a:gd name="connsiteX9" fmla="*/ 166965 w 353555"/>
                <a:gd name="connsiteY9" fmla="*/ 58350 h 543931"/>
                <a:gd name="connsiteX10" fmla="*/ 229517 w 353555"/>
                <a:gd name="connsiteY10" fmla="*/ 118183 h 543931"/>
                <a:gd name="connsiteX11" fmla="*/ 229517 w 353555"/>
                <a:gd name="connsiteY11" fmla="*/ 118183 h 543931"/>
                <a:gd name="connsiteX12" fmla="*/ 229517 w 353555"/>
                <a:gd name="connsiteY12" fmla="*/ 164417 h 543931"/>
                <a:gd name="connsiteX13" fmla="*/ 283910 w 353555"/>
                <a:gd name="connsiteY13" fmla="*/ 164417 h 543931"/>
                <a:gd name="connsiteX14" fmla="*/ 308387 w 353555"/>
                <a:gd name="connsiteY14" fmla="*/ 194333 h 543931"/>
                <a:gd name="connsiteX15" fmla="*/ 281190 w 353555"/>
                <a:gd name="connsiteY15" fmla="*/ 221530 h 543931"/>
                <a:gd name="connsiteX16" fmla="*/ 229517 w 353555"/>
                <a:gd name="connsiteY16" fmla="*/ 221530 h 543931"/>
                <a:gd name="connsiteX17" fmla="*/ 229517 w 353555"/>
                <a:gd name="connsiteY17" fmla="*/ 365671 h 543931"/>
                <a:gd name="connsiteX18" fmla="*/ 311107 w 353555"/>
                <a:gd name="connsiteY18" fmla="*/ 433663 h 543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3555" h="543931">
                  <a:moveTo>
                    <a:pt x="311107" y="433663"/>
                  </a:moveTo>
                  <a:cubicBezTo>
                    <a:pt x="311107" y="433663"/>
                    <a:pt x="278471" y="501654"/>
                    <a:pt x="215919" y="501654"/>
                  </a:cubicBezTo>
                  <a:cubicBezTo>
                    <a:pt x="164245" y="501654"/>
                    <a:pt x="101693" y="458140"/>
                    <a:pt x="98973" y="392868"/>
                  </a:cubicBezTo>
                  <a:cubicBezTo>
                    <a:pt x="98973" y="392868"/>
                    <a:pt x="98973" y="297680"/>
                    <a:pt x="98973" y="221530"/>
                  </a:cubicBezTo>
                  <a:lnTo>
                    <a:pt x="82655" y="221530"/>
                  </a:lnTo>
                  <a:cubicBezTo>
                    <a:pt x="74496" y="221530"/>
                    <a:pt x="58178" y="216090"/>
                    <a:pt x="58178" y="191614"/>
                  </a:cubicBezTo>
                  <a:cubicBezTo>
                    <a:pt x="58178" y="167137"/>
                    <a:pt x="77216" y="164417"/>
                    <a:pt x="85375" y="164417"/>
                  </a:cubicBezTo>
                  <a:lnTo>
                    <a:pt x="101693" y="164417"/>
                  </a:lnTo>
                  <a:cubicBezTo>
                    <a:pt x="101693" y="137220"/>
                    <a:pt x="101693" y="118183"/>
                    <a:pt x="101693" y="118183"/>
                  </a:cubicBezTo>
                  <a:cubicBezTo>
                    <a:pt x="104413" y="85547"/>
                    <a:pt x="134329" y="55631"/>
                    <a:pt x="166965" y="58350"/>
                  </a:cubicBezTo>
                  <a:cubicBezTo>
                    <a:pt x="196881" y="61070"/>
                    <a:pt x="229517" y="85547"/>
                    <a:pt x="229517" y="118183"/>
                  </a:cubicBezTo>
                  <a:lnTo>
                    <a:pt x="229517" y="118183"/>
                  </a:lnTo>
                  <a:lnTo>
                    <a:pt x="229517" y="164417"/>
                  </a:lnTo>
                  <a:lnTo>
                    <a:pt x="283910" y="164417"/>
                  </a:lnTo>
                  <a:cubicBezTo>
                    <a:pt x="292069" y="164417"/>
                    <a:pt x="308387" y="169856"/>
                    <a:pt x="308387" y="194333"/>
                  </a:cubicBezTo>
                  <a:cubicBezTo>
                    <a:pt x="308387" y="218810"/>
                    <a:pt x="292069" y="221530"/>
                    <a:pt x="281190" y="221530"/>
                  </a:cubicBezTo>
                  <a:lnTo>
                    <a:pt x="229517" y="221530"/>
                  </a:lnTo>
                  <a:lnTo>
                    <a:pt x="229517" y="365671"/>
                  </a:lnTo>
                  <a:cubicBezTo>
                    <a:pt x="226797" y="409186"/>
                    <a:pt x="267592" y="433663"/>
                    <a:pt x="311107" y="433663"/>
                  </a:cubicBezTo>
                </a:path>
              </a:pathLst>
            </a:custGeom>
            <a:grpFill/>
            <a:ln w="27168"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2299FDAD-63EC-45F4-AA66-D1E6CE9DA23E}"/>
                </a:ext>
              </a:extLst>
            </p:cNvPr>
            <p:cNvSpPr/>
            <p:nvPr/>
          </p:nvSpPr>
          <p:spPr>
            <a:xfrm>
              <a:off x="7090329" y="3338014"/>
              <a:ext cx="353556" cy="543931"/>
            </a:xfrm>
            <a:custGeom>
              <a:avLst/>
              <a:gdLst>
                <a:gd name="connsiteX0" fmla="*/ 311107 w 353555"/>
                <a:gd name="connsiteY0" fmla="*/ 433663 h 543931"/>
                <a:gd name="connsiteX1" fmla="*/ 215919 w 353555"/>
                <a:gd name="connsiteY1" fmla="*/ 501654 h 543931"/>
                <a:gd name="connsiteX2" fmla="*/ 98973 w 353555"/>
                <a:gd name="connsiteY2" fmla="*/ 392868 h 543931"/>
                <a:gd name="connsiteX3" fmla="*/ 98973 w 353555"/>
                <a:gd name="connsiteY3" fmla="*/ 221530 h 543931"/>
                <a:gd name="connsiteX4" fmla="*/ 82655 w 353555"/>
                <a:gd name="connsiteY4" fmla="*/ 221530 h 543931"/>
                <a:gd name="connsiteX5" fmla="*/ 58178 w 353555"/>
                <a:gd name="connsiteY5" fmla="*/ 191614 h 543931"/>
                <a:gd name="connsiteX6" fmla="*/ 85375 w 353555"/>
                <a:gd name="connsiteY6" fmla="*/ 164417 h 543931"/>
                <a:gd name="connsiteX7" fmla="*/ 101693 w 353555"/>
                <a:gd name="connsiteY7" fmla="*/ 164417 h 543931"/>
                <a:gd name="connsiteX8" fmla="*/ 101693 w 353555"/>
                <a:gd name="connsiteY8" fmla="*/ 118183 h 543931"/>
                <a:gd name="connsiteX9" fmla="*/ 166965 w 353555"/>
                <a:gd name="connsiteY9" fmla="*/ 58350 h 543931"/>
                <a:gd name="connsiteX10" fmla="*/ 229517 w 353555"/>
                <a:gd name="connsiteY10" fmla="*/ 118183 h 543931"/>
                <a:gd name="connsiteX11" fmla="*/ 229517 w 353555"/>
                <a:gd name="connsiteY11" fmla="*/ 118183 h 543931"/>
                <a:gd name="connsiteX12" fmla="*/ 229517 w 353555"/>
                <a:gd name="connsiteY12" fmla="*/ 164417 h 543931"/>
                <a:gd name="connsiteX13" fmla="*/ 283910 w 353555"/>
                <a:gd name="connsiteY13" fmla="*/ 164417 h 543931"/>
                <a:gd name="connsiteX14" fmla="*/ 308387 w 353555"/>
                <a:gd name="connsiteY14" fmla="*/ 194333 h 543931"/>
                <a:gd name="connsiteX15" fmla="*/ 281190 w 353555"/>
                <a:gd name="connsiteY15" fmla="*/ 221530 h 543931"/>
                <a:gd name="connsiteX16" fmla="*/ 229517 w 353555"/>
                <a:gd name="connsiteY16" fmla="*/ 221530 h 543931"/>
                <a:gd name="connsiteX17" fmla="*/ 229517 w 353555"/>
                <a:gd name="connsiteY17" fmla="*/ 365671 h 543931"/>
                <a:gd name="connsiteX18" fmla="*/ 311107 w 353555"/>
                <a:gd name="connsiteY18" fmla="*/ 433663 h 543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3555" h="543931">
                  <a:moveTo>
                    <a:pt x="311107" y="433663"/>
                  </a:moveTo>
                  <a:cubicBezTo>
                    <a:pt x="311107" y="433663"/>
                    <a:pt x="278471" y="501654"/>
                    <a:pt x="215919" y="501654"/>
                  </a:cubicBezTo>
                  <a:cubicBezTo>
                    <a:pt x="164245" y="501654"/>
                    <a:pt x="101693" y="458140"/>
                    <a:pt x="98973" y="392868"/>
                  </a:cubicBezTo>
                  <a:cubicBezTo>
                    <a:pt x="98973" y="392868"/>
                    <a:pt x="98973" y="297680"/>
                    <a:pt x="98973" y="221530"/>
                  </a:cubicBezTo>
                  <a:lnTo>
                    <a:pt x="82655" y="221530"/>
                  </a:lnTo>
                  <a:cubicBezTo>
                    <a:pt x="74496" y="221530"/>
                    <a:pt x="58178" y="216090"/>
                    <a:pt x="58178" y="191614"/>
                  </a:cubicBezTo>
                  <a:cubicBezTo>
                    <a:pt x="58178" y="167137"/>
                    <a:pt x="77216" y="164417"/>
                    <a:pt x="85375" y="164417"/>
                  </a:cubicBezTo>
                  <a:lnTo>
                    <a:pt x="101693" y="164417"/>
                  </a:lnTo>
                  <a:cubicBezTo>
                    <a:pt x="101693" y="137220"/>
                    <a:pt x="101693" y="118183"/>
                    <a:pt x="101693" y="118183"/>
                  </a:cubicBezTo>
                  <a:cubicBezTo>
                    <a:pt x="104412" y="85547"/>
                    <a:pt x="134329" y="55631"/>
                    <a:pt x="166965" y="58350"/>
                  </a:cubicBezTo>
                  <a:cubicBezTo>
                    <a:pt x="196881" y="61070"/>
                    <a:pt x="229517" y="85547"/>
                    <a:pt x="229517" y="118183"/>
                  </a:cubicBezTo>
                  <a:lnTo>
                    <a:pt x="229517" y="118183"/>
                  </a:lnTo>
                  <a:lnTo>
                    <a:pt x="229517" y="164417"/>
                  </a:lnTo>
                  <a:lnTo>
                    <a:pt x="283910" y="164417"/>
                  </a:lnTo>
                  <a:cubicBezTo>
                    <a:pt x="292069" y="164417"/>
                    <a:pt x="308387" y="169856"/>
                    <a:pt x="308387" y="194333"/>
                  </a:cubicBezTo>
                  <a:cubicBezTo>
                    <a:pt x="308387" y="218810"/>
                    <a:pt x="292069" y="221530"/>
                    <a:pt x="281190" y="221530"/>
                  </a:cubicBezTo>
                  <a:lnTo>
                    <a:pt x="229517" y="221530"/>
                  </a:lnTo>
                  <a:lnTo>
                    <a:pt x="229517" y="365671"/>
                  </a:lnTo>
                  <a:cubicBezTo>
                    <a:pt x="229517" y="409186"/>
                    <a:pt x="270312" y="433663"/>
                    <a:pt x="311107" y="433663"/>
                  </a:cubicBezTo>
                </a:path>
              </a:pathLst>
            </a:custGeom>
            <a:grpFill/>
            <a:ln w="27168"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F530B7C5-D6F9-4E08-A485-A8B502BF2E29}"/>
                </a:ext>
              </a:extLst>
            </p:cNvPr>
            <p:cNvSpPr/>
            <p:nvPr/>
          </p:nvSpPr>
          <p:spPr>
            <a:xfrm>
              <a:off x="2080719" y="4178559"/>
              <a:ext cx="462342" cy="788700"/>
            </a:xfrm>
            <a:custGeom>
              <a:avLst/>
              <a:gdLst>
                <a:gd name="connsiteX0" fmla="*/ 403575 w 462341"/>
                <a:gd name="connsiteY0" fmla="*/ 583072 h 788699"/>
                <a:gd name="connsiteX1" fmla="*/ 406295 w 462341"/>
                <a:gd name="connsiteY1" fmla="*/ 596670 h 788699"/>
                <a:gd name="connsiteX2" fmla="*/ 400855 w 462341"/>
                <a:gd name="connsiteY2" fmla="*/ 610268 h 788699"/>
                <a:gd name="connsiteX3" fmla="*/ 389977 w 462341"/>
                <a:gd name="connsiteY3" fmla="*/ 626586 h 788699"/>
                <a:gd name="connsiteX4" fmla="*/ 354621 w 462341"/>
                <a:gd name="connsiteY4" fmla="*/ 675540 h 788699"/>
                <a:gd name="connsiteX5" fmla="*/ 327424 w 462341"/>
                <a:gd name="connsiteY5" fmla="*/ 691858 h 788699"/>
                <a:gd name="connsiteX6" fmla="*/ 292069 w 462341"/>
                <a:gd name="connsiteY6" fmla="*/ 713615 h 788699"/>
                <a:gd name="connsiteX7" fmla="*/ 251274 w 462341"/>
                <a:gd name="connsiteY7" fmla="*/ 724494 h 788699"/>
                <a:gd name="connsiteX8" fmla="*/ 221358 w 462341"/>
                <a:gd name="connsiteY8" fmla="*/ 721774 h 788699"/>
                <a:gd name="connsiteX9" fmla="*/ 191442 w 462341"/>
                <a:gd name="connsiteY9" fmla="*/ 721774 h 788699"/>
                <a:gd name="connsiteX10" fmla="*/ 153366 w 462341"/>
                <a:gd name="connsiteY10" fmla="*/ 713615 h 788699"/>
                <a:gd name="connsiteX11" fmla="*/ 104412 w 462341"/>
                <a:gd name="connsiteY11" fmla="*/ 675540 h 788699"/>
                <a:gd name="connsiteX12" fmla="*/ 104412 w 462341"/>
                <a:gd name="connsiteY12" fmla="*/ 689138 h 788699"/>
                <a:gd name="connsiteX13" fmla="*/ 101693 w 462341"/>
                <a:gd name="connsiteY13" fmla="*/ 710895 h 788699"/>
                <a:gd name="connsiteX14" fmla="*/ 85375 w 462341"/>
                <a:gd name="connsiteY14" fmla="*/ 732653 h 788699"/>
                <a:gd name="connsiteX15" fmla="*/ 69057 w 462341"/>
                <a:gd name="connsiteY15" fmla="*/ 727214 h 788699"/>
                <a:gd name="connsiteX16" fmla="*/ 60898 w 462341"/>
                <a:gd name="connsiteY16" fmla="*/ 710895 h 788699"/>
                <a:gd name="connsiteX17" fmla="*/ 58178 w 462341"/>
                <a:gd name="connsiteY17" fmla="*/ 691858 h 788699"/>
                <a:gd name="connsiteX18" fmla="*/ 60898 w 462341"/>
                <a:gd name="connsiteY18" fmla="*/ 664661 h 788699"/>
                <a:gd name="connsiteX19" fmla="*/ 60898 w 462341"/>
                <a:gd name="connsiteY19" fmla="*/ 607549 h 788699"/>
                <a:gd name="connsiteX20" fmla="*/ 63618 w 462341"/>
                <a:gd name="connsiteY20" fmla="*/ 528679 h 788699"/>
                <a:gd name="connsiteX21" fmla="*/ 69057 w 462341"/>
                <a:gd name="connsiteY21" fmla="*/ 504202 h 788699"/>
                <a:gd name="connsiteX22" fmla="*/ 74496 w 462341"/>
                <a:gd name="connsiteY22" fmla="*/ 493323 h 788699"/>
                <a:gd name="connsiteX23" fmla="*/ 82655 w 462341"/>
                <a:gd name="connsiteY23" fmla="*/ 487884 h 788699"/>
                <a:gd name="connsiteX24" fmla="*/ 90814 w 462341"/>
                <a:gd name="connsiteY24" fmla="*/ 493323 h 788699"/>
                <a:gd name="connsiteX25" fmla="*/ 98973 w 462341"/>
                <a:gd name="connsiteY25" fmla="*/ 512361 h 788699"/>
                <a:gd name="connsiteX26" fmla="*/ 101693 w 462341"/>
                <a:gd name="connsiteY26" fmla="*/ 555875 h 788699"/>
                <a:gd name="connsiteX27" fmla="*/ 101693 w 462341"/>
                <a:gd name="connsiteY27" fmla="*/ 596670 h 788699"/>
                <a:gd name="connsiteX28" fmla="*/ 109852 w 462341"/>
                <a:gd name="connsiteY28" fmla="*/ 626586 h 788699"/>
                <a:gd name="connsiteX29" fmla="*/ 128889 w 462341"/>
                <a:gd name="connsiteY29" fmla="*/ 651063 h 788699"/>
                <a:gd name="connsiteX30" fmla="*/ 153366 w 462341"/>
                <a:gd name="connsiteY30" fmla="*/ 670101 h 788699"/>
                <a:gd name="connsiteX31" fmla="*/ 196881 w 462341"/>
                <a:gd name="connsiteY31" fmla="*/ 678260 h 788699"/>
                <a:gd name="connsiteX32" fmla="*/ 221358 w 462341"/>
                <a:gd name="connsiteY32" fmla="*/ 667381 h 788699"/>
                <a:gd name="connsiteX33" fmla="*/ 253994 w 462341"/>
                <a:gd name="connsiteY33" fmla="*/ 659222 h 788699"/>
                <a:gd name="connsiteX34" fmla="*/ 275751 w 462341"/>
                <a:gd name="connsiteY34" fmla="*/ 637465 h 788699"/>
                <a:gd name="connsiteX35" fmla="*/ 281190 w 462341"/>
                <a:gd name="connsiteY35" fmla="*/ 615708 h 788699"/>
                <a:gd name="connsiteX36" fmla="*/ 278471 w 462341"/>
                <a:gd name="connsiteY36" fmla="*/ 602109 h 788699"/>
                <a:gd name="connsiteX37" fmla="*/ 262153 w 462341"/>
                <a:gd name="connsiteY37" fmla="*/ 572193 h 788699"/>
                <a:gd name="connsiteX38" fmla="*/ 245835 w 462341"/>
                <a:gd name="connsiteY38" fmla="*/ 536838 h 788699"/>
                <a:gd name="connsiteX39" fmla="*/ 196881 w 462341"/>
                <a:gd name="connsiteY39" fmla="*/ 477005 h 788699"/>
                <a:gd name="connsiteX40" fmla="*/ 145207 w 462341"/>
                <a:gd name="connsiteY40" fmla="*/ 419892 h 788699"/>
                <a:gd name="connsiteX41" fmla="*/ 93534 w 462341"/>
                <a:gd name="connsiteY41" fmla="*/ 357340 h 788699"/>
                <a:gd name="connsiteX42" fmla="*/ 66337 w 462341"/>
                <a:gd name="connsiteY42" fmla="*/ 283910 h 788699"/>
                <a:gd name="connsiteX43" fmla="*/ 58178 w 462341"/>
                <a:gd name="connsiteY43" fmla="*/ 224077 h 788699"/>
                <a:gd name="connsiteX44" fmla="*/ 82655 w 462341"/>
                <a:gd name="connsiteY44" fmla="*/ 150647 h 788699"/>
                <a:gd name="connsiteX45" fmla="*/ 137048 w 462341"/>
                <a:gd name="connsiteY45" fmla="*/ 96253 h 788699"/>
                <a:gd name="connsiteX46" fmla="*/ 196881 w 462341"/>
                <a:gd name="connsiteY46" fmla="*/ 77216 h 788699"/>
                <a:gd name="connsiteX47" fmla="*/ 232236 w 462341"/>
                <a:gd name="connsiteY47" fmla="*/ 69057 h 788699"/>
                <a:gd name="connsiteX48" fmla="*/ 262153 w 462341"/>
                <a:gd name="connsiteY48" fmla="*/ 74496 h 788699"/>
                <a:gd name="connsiteX49" fmla="*/ 294789 w 462341"/>
                <a:gd name="connsiteY49" fmla="*/ 85375 h 788699"/>
                <a:gd name="connsiteX50" fmla="*/ 327424 w 462341"/>
                <a:gd name="connsiteY50" fmla="*/ 104412 h 788699"/>
                <a:gd name="connsiteX51" fmla="*/ 332864 w 462341"/>
                <a:gd name="connsiteY51" fmla="*/ 74496 h 788699"/>
                <a:gd name="connsiteX52" fmla="*/ 338303 w 462341"/>
                <a:gd name="connsiteY52" fmla="*/ 63618 h 788699"/>
                <a:gd name="connsiteX53" fmla="*/ 349182 w 462341"/>
                <a:gd name="connsiteY53" fmla="*/ 58178 h 788699"/>
                <a:gd name="connsiteX54" fmla="*/ 357341 w 462341"/>
                <a:gd name="connsiteY54" fmla="*/ 63618 h 788699"/>
                <a:gd name="connsiteX55" fmla="*/ 365500 w 462341"/>
                <a:gd name="connsiteY55" fmla="*/ 82655 h 788699"/>
                <a:gd name="connsiteX56" fmla="*/ 368219 w 462341"/>
                <a:gd name="connsiteY56" fmla="*/ 142488 h 788699"/>
                <a:gd name="connsiteX57" fmla="*/ 368219 w 462341"/>
                <a:gd name="connsiteY57" fmla="*/ 188722 h 788699"/>
                <a:gd name="connsiteX58" fmla="*/ 370939 w 462341"/>
                <a:gd name="connsiteY58" fmla="*/ 245834 h 788699"/>
                <a:gd name="connsiteX59" fmla="*/ 354621 w 462341"/>
                <a:gd name="connsiteY59" fmla="*/ 286629 h 788699"/>
                <a:gd name="connsiteX60" fmla="*/ 338303 w 462341"/>
                <a:gd name="connsiteY60" fmla="*/ 281190 h 788699"/>
                <a:gd name="connsiteX61" fmla="*/ 330144 w 462341"/>
                <a:gd name="connsiteY61" fmla="*/ 264872 h 788699"/>
                <a:gd name="connsiteX62" fmla="*/ 327424 w 462341"/>
                <a:gd name="connsiteY62" fmla="*/ 248554 h 788699"/>
                <a:gd name="connsiteX63" fmla="*/ 330144 w 462341"/>
                <a:gd name="connsiteY63" fmla="*/ 221357 h 788699"/>
                <a:gd name="connsiteX64" fmla="*/ 330144 w 462341"/>
                <a:gd name="connsiteY64" fmla="*/ 188722 h 788699"/>
                <a:gd name="connsiteX65" fmla="*/ 327424 w 462341"/>
                <a:gd name="connsiteY65" fmla="*/ 164245 h 788699"/>
                <a:gd name="connsiteX66" fmla="*/ 311107 w 462341"/>
                <a:gd name="connsiteY66" fmla="*/ 134329 h 788699"/>
                <a:gd name="connsiteX67" fmla="*/ 283910 w 462341"/>
                <a:gd name="connsiteY67" fmla="*/ 118011 h 788699"/>
                <a:gd name="connsiteX68" fmla="*/ 251274 w 462341"/>
                <a:gd name="connsiteY68" fmla="*/ 112571 h 788699"/>
                <a:gd name="connsiteX69" fmla="*/ 215918 w 462341"/>
                <a:gd name="connsiteY69" fmla="*/ 123450 h 788699"/>
                <a:gd name="connsiteX70" fmla="*/ 202320 w 462341"/>
                <a:gd name="connsiteY70" fmla="*/ 147927 h 788699"/>
                <a:gd name="connsiteX71" fmla="*/ 188722 w 462341"/>
                <a:gd name="connsiteY71" fmla="*/ 180563 h 788699"/>
                <a:gd name="connsiteX72" fmla="*/ 183283 w 462341"/>
                <a:gd name="connsiteY72" fmla="*/ 210479 h 788699"/>
                <a:gd name="connsiteX73" fmla="*/ 188722 w 462341"/>
                <a:gd name="connsiteY73" fmla="*/ 226797 h 788699"/>
                <a:gd name="connsiteX74" fmla="*/ 188722 w 462341"/>
                <a:gd name="connsiteY74" fmla="*/ 248554 h 788699"/>
                <a:gd name="connsiteX75" fmla="*/ 210479 w 462341"/>
                <a:gd name="connsiteY75" fmla="*/ 273031 h 788699"/>
                <a:gd name="connsiteX76" fmla="*/ 226797 w 462341"/>
                <a:gd name="connsiteY76" fmla="*/ 300228 h 788699"/>
                <a:gd name="connsiteX77" fmla="*/ 256713 w 462341"/>
                <a:gd name="connsiteY77" fmla="*/ 332864 h 788699"/>
                <a:gd name="connsiteX78" fmla="*/ 275751 w 462341"/>
                <a:gd name="connsiteY78" fmla="*/ 351901 h 788699"/>
                <a:gd name="connsiteX79" fmla="*/ 324705 w 462341"/>
                <a:gd name="connsiteY79" fmla="*/ 400855 h 788699"/>
                <a:gd name="connsiteX80" fmla="*/ 343742 w 462341"/>
                <a:gd name="connsiteY80" fmla="*/ 428051 h 788699"/>
                <a:gd name="connsiteX81" fmla="*/ 351901 w 462341"/>
                <a:gd name="connsiteY81" fmla="*/ 433491 h 788699"/>
                <a:gd name="connsiteX82" fmla="*/ 360060 w 462341"/>
                <a:gd name="connsiteY82" fmla="*/ 447089 h 788699"/>
                <a:gd name="connsiteX83" fmla="*/ 384537 w 462341"/>
                <a:gd name="connsiteY83" fmla="*/ 474286 h 788699"/>
                <a:gd name="connsiteX84" fmla="*/ 395416 w 462341"/>
                <a:gd name="connsiteY84" fmla="*/ 506921 h 788699"/>
                <a:gd name="connsiteX85" fmla="*/ 406295 w 462341"/>
                <a:gd name="connsiteY85" fmla="*/ 536838 h 788699"/>
                <a:gd name="connsiteX86" fmla="*/ 409014 w 462341"/>
                <a:gd name="connsiteY86" fmla="*/ 547716 h 788699"/>
                <a:gd name="connsiteX87" fmla="*/ 406295 w 462341"/>
                <a:gd name="connsiteY87" fmla="*/ 569473 h 788699"/>
                <a:gd name="connsiteX88" fmla="*/ 403575 w 462341"/>
                <a:gd name="connsiteY88" fmla="*/ 583072 h 788699"/>
                <a:gd name="connsiteX89" fmla="*/ 403575 w 462341"/>
                <a:gd name="connsiteY89" fmla="*/ 583072 h 78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62341" h="788699">
                  <a:moveTo>
                    <a:pt x="403575" y="583072"/>
                  </a:moveTo>
                  <a:cubicBezTo>
                    <a:pt x="403575" y="588511"/>
                    <a:pt x="406295" y="591231"/>
                    <a:pt x="406295" y="596670"/>
                  </a:cubicBezTo>
                  <a:cubicBezTo>
                    <a:pt x="406295" y="602109"/>
                    <a:pt x="403575" y="604829"/>
                    <a:pt x="400855" y="610268"/>
                  </a:cubicBezTo>
                  <a:cubicBezTo>
                    <a:pt x="398136" y="615708"/>
                    <a:pt x="392696" y="621147"/>
                    <a:pt x="389977" y="626586"/>
                  </a:cubicBezTo>
                  <a:cubicBezTo>
                    <a:pt x="381818" y="645624"/>
                    <a:pt x="368219" y="661942"/>
                    <a:pt x="354621" y="675540"/>
                  </a:cubicBezTo>
                  <a:cubicBezTo>
                    <a:pt x="346462" y="683699"/>
                    <a:pt x="338303" y="686419"/>
                    <a:pt x="327424" y="691858"/>
                  </a:cubicBezTo>
                  <a:cubicBezTo>
                    <a:pt x="316546" y="700017"/>
                    <a:pt x="302948" y="708176"/>
                    <a:pt x="292069" y="713615"/>
                  </a:cubicBezTo>
                  <a:cubicBezTo>
                    <a:pt x="281190" y="719054"/>
                    <a:pt x="264872" y="724494"/>
                    <a:pt x="251274" y="724494"/>
                  </a:cubicBezTo>
                  <a:cubicBezTo>
                    <a:pt x="240395" y="724494"/>
                    <a:pt x="229517" y="721774"/>
                    <a:pt x="221358" y="721774"/>
                  </a:cubicBezTo>
                  <a:cubicBezTo>
                    <a:pt x="213199" y="721774"/>
                    <a:pt x="202320" y="721774"/>
                    <a:pt x="191442" y="721774"/>
                  </a:cubicBezTo>
                  <a:cubicBezTo>
                    <a:pt x="172404" y="721774"/>
                    <a:pt x="172404" y="721774"/>
                    <a:pt x="153366" y="713615"/>
                  </a:cubicBezTo>
                  <a:cubicBezTo>
                    <a:pt x="134329" y="708176"/>
                    <a:pt x="118011" y="691858"/>
                    <a:pt x="104412" y="675540"/>
                  </a:cubicBezTo>
                  <a:cubicBezTo>
                    <a:pt x="104412" y="678260"/>
                    <a:pt x="104412" y="680979"/>
                    <a:pt x="104412" y="689138"/>
                  </a:cubicBezTo>
                  <a:cubicBezTo>
                    <a:pt x="104412" y="694578"/>
                    <a:pt x="104412" y="702737"/>
                    <a:pt x="101693" y="710895"/>
                  </a:cubicBezTo>
                  <a:cubicBezTo>
                    <a:pt x="101693" y="721774"/>
                    <a:pt x="96253" y="732653"/>
                    <a:pt x="85375" y="732653"/>
                  </a:cubicBezTo>
                  <a:cubicBezTo>
                    <a:pt x="77216" y="732653"/>
                    <a:pt x="74496" y="729933"/>
                    <a:pt x="69057" y="727214"/>
                  </a:cubicBezTo>
                  <a:cubicBezTo>
                    <a:pt x="63618" y="724494"/>
                    <a:pt x="60898" y="716335"/>
                    <a:pt x="60898" y="710895"/>
                  </a:cubicBezTo>
                  <a:cubicBezTo>
                    <a:pt x="58178" y="702737"/>
                    <a:pt x="58178" y="697297"/>
                    <a:pt x="58178" y="691858"/>
                  </a:cubicBezTo>
                  <a:cubicBezTo>
                    <a:pt x="58178" y="683699"/>
                    <a:pt x="60898" y="678260"/>
                    <a:pt x="60898" y="664661"/>
                  </a:cubicBezTo>
                  <a:cubicBezTo>
                    <a:pt x="60898" y="656502"/>
                    <a:pt x="60898" y="632026"/>
                    <a:pt x="60898" y="607549"/>
                  </a:cubicBezTo>
                  <a:cubicBezTo>
                    <a:pt x="60898" y="574913"/>
                    <a:pt x="60898" y="542277"/>
                    <a:pt x="63618" y="528679"/>
                  </a:cubicBezTo>
                  <a:cubicBezTo>
                    <a:pt x="63618" y="520520"/>
                    <a:pt x="63618" y="509641"/>
                    <a:pt x="69057" y="504202"/>
                  </a:cubicBezTo>
                  <a:cubicBezTo>
                    <a:pt x="71777" y="501482"/>
                    <a:pt x="71777" y="498762"/>
                    <a:pt x="74496" y="493323"/>
                  </a:cubicBezTo>
                  <a:cubicBezTo>
                    <a:pt x="77216" y="490603"/>
                    <a:pt x="79936" y="487884"/>
                    <a:pt x="82655" y="487884"/>
                  </a:cubicBezTo>
                  <a:cubicBezTo>
                    <a:pt x="85375" y="487884"/>
                    <a:pt x="90814" y="490603"/>
                    <a:pt x="90814" y="493323"/>
                  </a:cubicBezTo>
                  <a:cubicBezTo>
                    <a:pt x="93534" y="498762"/>
                    <a:pt x="98973" y="506921"/>
                    <a:pt x="98973" y="512361"/>
                  </a:cubicBezTo>
                  <a:cubicBezTo>
                    <a:pt x="98973" y="520520"/>
                    <a:pt x="101693" y="536838"/>
                    <a:pt x="101693" y="555875"/>
                  </a:cubicBezTo>
                  <a:cubicBezTo>
                    <a:pt x="101693" y="569473"/>
                    <a:pt x="101693" y="583072"/>
                    <a:pt x="101693" y="596670"/>
                  </a:cubicBezTo>
                  <a:cubicBezTo>
                    <a:pt x="101693" y="607549"/>
                    <a:pt x="104412" y="618427"/>
                    <a:pt x="109852" y="626586"/>
                  </a:cubicBezTo>
                  <a:cubicBezTo>
                    <a:pt x="115291" y="637465"/>
                    <a:pt x="123450" y="642904"/>
                    <a:pt x="128889" y="651063"/>
                  </a:cubicBezTo>
                  <a:cubicBezTo>
                    <a:pt x="137048" y="661942"/>
                    <a:pt x="139768" y="667381"/>
                    <a:pt x="153366" y="670101"/>
                  </a:cubicBezTo>
                  <a:cubicBezTo>
                    <a:pt x="161525" y="670101"/>
                    <a:pt x="183283" y="678260"/>
                    <a:pt x="196881" y="678260"/>
                  </a:cubicBezTo>
                  <a:cubicBezTo>
                    <a:pt x="207759" y="678260"/>
                    <a:pt x="210479" y="672820"/>
                    <a:pt x="221358" y="667381"/>
                  </a:cubicBezTo>
                  <a:cubicBezTo>
                    <a:pt x="232236" y="661942"/>
                    <a:pt x="245835" y="664661"/>
                    <a:pt x="253994" y="659222"/>
                  </a:cubicBezTo>
                  <a:cubicBezTo>
                    <a:pt x="262153" y="653783"/>
                    <a:pt x="273031" y="645624"/>
                    <a:pt x="275751" y="637465"/>
                  </a:cubicBezTo>
                  <a:cubicBezTo>
                    <a:pt x="281190" y="629306"/>
                    <a:pt x="281190" y="621147"/>
                    <a:pt x="281190" y="615708"/>
                  </a:cubicBezTo>
                  <a:cubicBezTo>
                    <a:pt x="281190" y="610268"/>
                    <a:pt x="281190" y="607549"/>
                    <a:pt x="278471" y="602109"/>
                  </a:cubicBezTo>
                  <a:cubicBezTo>
                    <a:pt x="275751" y="591231"/>
                    <a:pt x="267592" y="583072"/>
                    <a:pt x="262153" y="572193"/>
                  </a:cubicBezTo>
                  <a:cubicBezTo>
                    <a:pt x="256713" y="561314"/>
                    <a:pt x="253994" y="547716"/>
                    <a:pt x="245835" y="536838"/>
                  </a:cubicBezTo>
                  <a:cubicBezTo>
                    <a:pt x="232236" y="515080"/>
                    <a:pt x="213199" y="498762"/>
                    <a:pt x="196881" y="477005"/>
                  </a:cubicBezTo>
                  <a:cubicBezTo>
                    <a:pt x="180563" y="457968"/>
                    <a:pt x="164245" y="438930"/>
                    <a:pt x="145207" y="419892"/>
                  </a:cubicBezTo>
                  <a:cubicBezTo>
                    <a:pt x="126170" y="400855"/>
                    <a:pt x="109852" y="379098"/>
                    <a:pt x="93534" y="357340"/>
                  </a:cubicBezTo>
                  <a:cubicBezTo>
                    <a:pt x="77216" y="335583"/>
                    <a:pt x="71777" y="308387"/>
                    <a:pt x="66337" y="283910"/>
                  </a:cubicBezTo>
                  <a:cubicBezTo>
                    <a:pt x="63618" y="267592"/>
                    <a:pt x="58178" y="245834"/>
                    <a:pt x="58178" y="224077"/>
                  </a:cubicBezTo>
                  <a:cubicBezTo>
                    <a:pt x="58178" y="194161"/>
                    <a:pt x="69057" y="175123"/>
                    <a:pt x="82655" y="150647"/>
                  </a:cubicBezTo>
                  <a:cubicBezTo>
                    <a:pt x="96253" y="128889"/>
                    <a:pt x="115291" y="109852"/>
                    <a:pt x="137048" y="96253"/>
                  </a:cubicBezTo>
                  <a:cubicBezTo>
                    <a:pt x="158806" y="82655"/>
                    <a:pt x="172404" y="79936"/>
                    <a:pt x="196881" y="77216"/>
                  </a:cubicBezTo>
                  <a:cubicBezTo>
                    <a:pt x="210479" y="77216"/>
                    <a:pt x="215918" y="69057"/>
                    <a:pt x="232236" y="69057"/>
                  </a:cubicBezTo>
                  <a:cubicBezTo>
                    <a:pt x="243115" y="69057"/>
                    <a:pt x="251274" y="71776"/>
                    <a:pt x="262153" y="74496"/>
                  </a:cubicBezTo>
                  <a:cubicBezTo>
                    <a:pt x="273031" y="77216"/>
                    <a:pt x="283910" y="82655"/>
                    <a:pt x="294789" y="85375"/>
                  </a:cubicBezTo>
                  <a:cubicBezTo>
                    <a:pt x="308387" y="90814"/>
                    <a:pt x="319265" y="96253"/>
                    <a:pt x="327424" y="104412"/>
                  </a:cubicBezTo>
                  <a:cubicBezTo>
                    <a:pt x="327424" y="90814"/>
                    <a:pt x="327424" y="79936"/>
                    <a:pt x="332864" y="74496"/>
                  </a:cubicBezTo>
                  <a:cubicBezTo>
                    <a:pt x="335583" y="71776"/>
                    <a:pt x="335583" y="69057"/>
                    <a:pt x="338303" y="63618"/>
                  </a:cubicBezTo>
                  <a:cubicBezTo>
                    <a:pt x="341023" y="60898"/>
                    <a:pt x="346462" y="58178"/>
                    <a:pt x="349182" y="58178"/>
                  </a:cubicBezTo>
                  <a:cubicBezTo>
                    <a:pt x="351901" y="58178"/>
                    <a:pt x="357341" y="60898"/>
                    <a:pt x="357341" y="63618"/>
                  </a:cubicBezTo>
                  <a:cubicBezTo>
                    <a:pt x="360060" y="69057"/>
                    <a:pt x="365500" y="77216"/>
                    <a:pt x="365500" y="82655"/>
                  </a:cubicBezTo>
                  <a:cubicBezTo>
                    <a:pt x="365500" y="90814"/>
                    <a:pt x="368219" y="123450"/>
                    <a:pt x="368219" y="142488"/>
                  </a:cubicBezTo>
                  <a:cubicBezTo>
                    <a:pt x="368219" y="158806"/>
                    <a:pt x="368219" y="177843"/>
                    <a:pt x="368219" y="188722"/>
                  </a:cubicBezTo>
                  <a:cubicBezTo>
                    <a:pt x="368219" y="213199"/>
                    <a:pt x="370939" y="224077"/>
                    <a:pt x="370939" y="245834"/>
                  </a:cubicBezTo>
                  <a:cubicBezTo>
                    <a:pt x="370939" y="256713"/>
                    <a:pt x="370939" y="286629"/>
                    <a:pt x="354621" y="286629"/>
                  </a:cubicBezTo>
                  <a:cubicBezTo>
                    <a:pt x="346462" y="286629"/>
                    <a:pt x="343742" y="283910"/>
                    <a:pt x="338303" y="281190"/>
                  </a:cubicBezTo>
                  <a:cubicBezTo>
                    <a:pt x="332864" y="278470"/>
                    <a:pt x="330144" y="270311"/>
                    <a:pt x="330144" y="264872"/>
                  </a:cubicBezTo>
                  <a:cubicBezTo>
                    <a:pt x="327424" y="256713"/>
                    <a:pt x="327424" y="251274"/>
                    <a:pt x="327424" y="248554"/>
                  </a:cubicBezTo>
                  <a:cubicBezTo>
                    <a:pt x="327424" y="240395"/>
                    <a:pt x="330144" y="234956"/>
                    <a:pt x="330144" y="221357"/>
                  </a:cubicBezTo>
                  <a:cubicBezTo>
                    <a:pt x="330144" y="213199"/>
                    <a:pt x="330144" y="202320"/>
                    <a:pt x="330144" y="188722"/>
                  </a:cubicBezTo>
                  <a:cubicBezTo>
                    <a:pt x="330144" y="180563"/>
                    <a:pt x="327424" y="172404"/>
                    <a:pt x="327424" y="164245"/>
                  </a:cubicBezTo>
                  <a:cubicBezTo>
                    <a:pt x="324705" y="153366"/>
                    <a:pt x="319265" y="142488"/>
                    <a:pt x="311107" y="134329"/>
                  </a:cubicBezTo>
                  <a:cubicBezTo>
                    <a:pt x="302948" y="126170"/>
                    <a:pt x="294789" y="120730"/>
                    <a:pt x="283910" y="118011"/>
                  </a:cubicBezTo>
                  <a:cubicBezTo>
                    <a:pt x="275751" y="115291"/>
                    <a:pt x="262153" y="112571"/>
                    <a:pt x="251274" y="112571"/>
                  </a:cubicBezTo>
                  <a:cubicBezTo>
                    <a:pt x="237676" y="112571"/>
                    <a:pt x="224077" y="115291"/>
                    <a:pt x="215918" y="123450"/>
                  </a:cubicBezTo>
                  <a:cubicBezTo>
                    <a:pt x="207759" y="128889"/>
                    <a:pt x="205040" y="139768"/>
                    <a:pt x="202320" y="147927"/>
                  </a:cubicBezTo>
                  <a:cubicBezTo>
                    <a:pt x="196881" y="158806"/>
                    <a:pt x="191442" y="166964"/>
                    <a:pt x="188722" y="180563"/>
                  </a:cubicBezTo>
                  <a:cubicBezTo>
                    <a:pt x="186002" y="191441"/>
                    <a:pt x="183283" y="199600"/>
                    <a:pt x="183283" y="210479"/>
                  </a:cubicBezTo>
                  <a:cubicBezTo>
                    <a:pt x="183283" y="215918"/>
                    <a:pt x="186002" y="221357"/>
                    <a:pt x="188722" y="226797"/>
                  </a:cubicBezTo>
                  <a:cubicBezTo>
                    <a:pt x="191442" y="234956"/>
                    <a:pt x="188722" y="243115"/>
                    <a:pt x="188722" y="248554"/>
                  </a:cubicBezTo>
                  <a:cubicBezTo>
                    <a:pt x="191442" y="259433"/>
                    <a:pt x="202320" y="264872"/>
                    <a:pt x="210479" y="273031"/>
                  </a:cubicBezTo>
                  <a:cubicBezTo>
                    <a:pt x="218638" y="281190"/>
                    <a:pt x="221358" y="292069"/>
                    <a:pt x="226797" y="300228"/>
                  </a:cubicBezTo>
                  <a:cubicBezTo>
                    <a:pt x="234956" y="311106"/>
                    <a:pt x="245835" y="321985"/>
                    <a:pt x="256713" y="332864"/>
                  </a:cubicBezTo>
                  <a:cubicBezTo>
                    <a:pt x="259433" y="338303"/>
                    <a:pt x="267592" y="343742"/>
                    <a:pt x="275751" y="351901"/>
                  </a:cubicBezTo>
                  <a:cubicBezTo>
                    <a:pt x="292069" y="368219"/>
                    <a:pt x="311107" y="384537"/>
                    <a:pt x="324705" y="400855"/>
                  </a:cubicBezTo>
                  <a:cubicBezTo>
                    <a:pt x="332864" y="409014"/>
                    <a:pt x="335583" y="419892"/>
                    <a:pt x="343742" y="428051"/>
                  </a:cubicBezTo>
                  <a:cubicBezTo>
                    <a:pt x="346462" y="430771"/>
                    <a:pt x="349182" y="430771"/>
                    <a:pt x="351901" y="433491"/>
                  </a:cubicBezTo>
                  <a:cubicBezTo>
                    <a:pt x="354621" y="436210"/>
                    <a:pt x="357341" y="441650"/>
                    <a:pt x="360060" y="447089"/>
                  </a:cubicBezTo>
                  <a:cubicBezTo>
                    <a:pt x="368219" y="455248"/>
                    <a:pt x="376378" y="463407"/>
                    <a:pt x="384537" y="474286"/>
                  </a:cubicBezTo>
                  <a:cubicBezTo>
                    <a:pt x="389977" y="482445"/>
                    <a:pt x="392696" y="496043"/>
                    <a:pt x="395416" y="506921"/>
                  </a:cubicBezTo>
                  <a:cubicBezTo>
                    <a:pt x="400855" y="517800"/>
                    <a:pt x="400855" y="528679"/>
                    <a:pt x="406295" y="536838"/>
                  </a:cubicBezTo>
                  <a:cubicBezTo>
                    <a:pt x="409014" y="539557"/>
                    <a:pt x="409014" y="544997"/>
                    <a:pt x="409014" y="547716"/>
                  </a:cubicBezTo>
                  <a:cubicBezTo>
                    <a:pt x="409014" y="555875"/>
                    <a:pt x="406295" y="561314"/>
                    <a:pt x="406295" y="569473"/>
                  </a:cubicBezTo>
                  <a:cubicBezTo>
                    <a:pt x="406295" y="574913"/>
                    <a:pt x="403575" y="577632"/>
                    <a:pt x="403575" y="583072"/>
                  </a:cubicBezTo>
                  <a:lnTo>
                    <a:pt x="403575" y="583072"/>
                  </a:lnTo>
                  <a:close/>
                </a:path>
              </a:pathLst>
            </a:custGeom>
            <a:grpFill/>
            <a:ln w="27168"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4F56F46B-6493-4D0B-A8DF-FACA5EB88084}"/>
                </a:ext>
              </a:extLst>
            </p:cNvPr>
            <p:cNvSpPr/>
            <p:nvPr/>
          </p:nvSpPr>
          <p:spPr>
            <a:xfrm>
              <a:off x="2456032" y="4192158"/>
              <a:ext cx="571128" cy="761503"/>
            </a:xfrm>
            <a:custGeom>
              <a:avLst/>
              <a:gdLst>
                <a:gd name="connsiteX0" fmla="*/ 512361 w 571128"/>
                <a:gd name="connsiteY0" fmla="*/ 79936 h 761503"/>
                <a:gd name="connsiteX1" fmla="*/ 539558 w 571128"/>
                <a:gd name="connsiteY1" fmla="*/ 96253 h 761503"/>
                <a:gd name="connsiteX2" fmla="*/ 534118 w 571128"/>
                <a:gd name="connsiteY2" fmla="*/ 112571 h 761503"/>
                <a:gd name="connsiteX3" fmla="*/ 523240 w 571128"/>
                <a:gd name="connsiteY3" fmla="*/ 120730 h 761503"/>
                <a:gd name="connsiteX4" fmla="*/ 506922 w 571128"/>
                <a:gd name="connsiteY4" fmla="*/ 123450 h 761503"/>
                <a:gd name="connsiteX5" fmla="*/ 477006 w 571128"/>
                <a:gd name="connsiteY5" fmla="*/ 123450 h 761503"/>
                <a:gd name="connsiteX6" fmla="*/ 479725 w 571128"/>
                <a:gd name="connsiteY6" fmla="*/ 145207 h 761503"/>
                <a:gd name="connsiteX7" fmla="*/ 477006 w 571128"/>
                <a:gd name="connsiteY7" fmla="*/ 180563 h 761503"/>
                <a:gd name="connsiteX8" fmla="*/ 482445 w 571128"/>
                <a:gd name="connsiteY8" fmla="*/ 232236 h 761503"/>
                <a:gd name="connsiteX9" fmla="*/ 485165 w 571128"/>
                <a:gd name="connsiteY9" fmla="*/ 283910 h 761503"/>
                <a:gd name="connsiteX10" fmla="*/ 485165 w 571128"/>
                <a:gd name="connsiteY10" fmla="*/ 327424 h 761503"/>
                <a:gd name="connsiteX11" fmla="*/ 487884 w 571128"/>
                <a:gd name="connsiteY11" fmla="*/ 373658 h 761503"/>
                <a:gd name="connsiteX12" fmla="*/ 485165 w 571128"/>
                <a:gd name="connsiteY12" fmla="*/ 419892 h 761503"/>
                <a:gd name="connsiteX13" fmla="*/ 485165 w 571128"/>
                <a:gd name="connsiteY13" fmla="*/ 463407 h 761503"/>
                <a:gd name="connsiteX14" fmla="*/ 482445 w 571128"/>
                <a:gd name="connsiteY14" fmla="*/ 515080 h 761503"/>
                <a:gd name="connsiteX15" fmla="*/ 482445 w 571128"/>
                <a:gd name="connsiteY15" fmla="*/ 558595 h 761503"/>
                <a:gd name="connsiteX16" fmla="*/ 479725 w 571128"/>
                <a:gd name="connsiteY16" fmla="*/ 602109 h 761503"/>
                <a:gd name="connsiteX17" fmla="*/ 485165 w 571128"/>
                <a:gd name="connsiteY17" fmla="*/ 648343 h 761503"/>
                <a:gd name="connsiteX18" fmla="*/ 474286 w 571128"/>
                <a:gd name="connsiteY18" fmla="*/ 675540 h 761503"/>
                <a:gd name="connsiteX19" fmla="*/ 428052 w 571128"/>
                <a:gd name="connsiteY19" fmla="*/ 691858 h 761503"/>
                <a:gd name="connsiteX20" fmla="*/ 387257 w 571128"/>
                <a:gd name="connsiteY20" fmla="*/ 683699 h 761503"/>
                <a:gd name="connsiteX21" fmla="*/ 351901 w 571128"/>
                <a:gd name="connsiteY21" fmla="*/ 664661 h 761503"/>
                <a:gd name="connsiteX22" fmla="*/ 305667 w 571128"/>
                <a:gd name="connsiteY22" fmla="*/ 596670 h 761503"/>
                <a:gd name="connsiteX23" fmla="*/ 270312 w 571128"/>
                <a:gd name="connsiteY23" fmla="*/ 509641 h 761503"/>
                <a:gd name="connsiteX24" fmla="*/ 251274 w 571128"/>
                <a:gd name="connsiteY24" fmla="*/ 460687 h 761503"/>
                <a:gd name="connsiteX25" fmla="*/ 224077 w 571128"/>
                <a:gd name="connsiteY25" fmla="*/ 381817 h 761503"/>
                <a:gd name="connsiteX26" fmla="*/ 207759 w 571128"/>
                <a:gd name="connsiteY26" fmla="*/ 330144 h 761503"/>
                <a:gd name="connsiteX27" fmla="*/ 191442 w 571128"/>
                <a:gd name="connsiteY27" fmla="*/ 286629 h 761503"/>
                <a:gd name="connsiteX28" fmla="*/ 183283 w 571128"/>
                <a:gd name="connsiteY28" fmla="*/ 278470 h 761503"/>
                <a:gd name="connsiteX29" fmla="*/ 180563 w 571128"/>
                <a:gd name="connsiteY29" fmla="*/ 292069 h 761503"/>
                <a:gd name="connsiteX30" fmla="*/ 180563 w 571128"/>
                <a:gd name="connsiteY30" fmla="*/ 305667 h 761503"/>
                <a:gd name="connsiteX31" fmla="*/ 183283 w 571128"/>
                <a:gd name="connsiteY31" fmla="*/ 354621 h 761503"/>
                <a:gd name="connsiteX32" fmla="*/ 188722 w 571128"/>
                <a:gd name="connsiteY32" fmla="*/ 449809 h 761503"/>
                <a:gd name="connsiteX33" fmla="*/ 188722 w 571128"/>
                <a:gd name="connsiteY33" fmla="*/ 479725 h 761503"/>
                <a:gd name="connsiteX34" fmla="*/ 188722 w 571128"/>
                <a:gd name="connsiteY34" fmla="*/ 542277 h 761503"/>
                <a:gd name="connsiteX35" fmla="*/ 186002 w 571128"/>
                <a:gd name="connsiteY35" fmla="*/ 615708 h 761503"/>
                <a:gd name="connsiteX36" fmla="*/ 186002 w 571128"/>
                <a:gd name="connsiteY36" fmla="*/ 637465 h 761503"/>
                <a:gd name="connsiteX37" fmla="*/ 183283 w 571128"/>
                <a:gd name="connsiteY37" fmla="*/ 664661 h 761503"/>
                <a:gd name="connsiteX38" fmla="*/ 226797 w 571128"/>
                <a:gd name="connsiteY38" fmla="*/ 664661 h 761503"/>
                <a:gd name="connsiteX39" fmla="*/ 253994 w 571128"/>
                <a:gd name="connsiteY39" fmla="*/ 680979 h 761503"/>
                <a:gd name="connsiteX40" fmla="*/ 248554 w 571128"/>
                <a:gd name="connsiteY40" fmla="*/ 697297 h 761503"/>
                <a:gd name="connsiteX41" fmla="*/ 234956 w 571128"/>
                <a:gd name="connsiteY41" fmla="*/ 705456 h 761503"/>
                <a:gd name="connsiteX42" fmla="*/ 218638 w 571128"/>
                <a:gd name="connsiteY42" fmla="*/ 708176 h 761503"/>
                <a:gd name="connsiteX43" fmla="*/ 183283 w 571128"/>
                <a:gd name="connsiteY43" fmla="*/ 708176 h 761503"/>
                <a:gd name="connsiteX44" fmla="*/ 150647 w 571128"/>
                <a:gd name="connsiteY44" fmla="*/ 708176 h 761503"/>
                <a:gd name="connsiteX45" fmla="*/ 107132 w 571128"/>
                <a:gd name="connsiteY45" fmla="*/ 708176 h 761503"/>
                <a:gd name="connsiteX46" fmla="*/ 88094 w 571128"/>
                <a:gd name="connsiteY46" fmla="*/ 708176 h 761503"/>
                <a:gd name="connsiteX47" fmla="*/ 69057 w 571128"/>
                <a:gd name="connsiteY47" fmla="*/ 702737 h 761503"/>
                <a:gd name="connsiteX48" fmla="*/ 58178 w 571128"/>
                <a:gd name="connsiteY48" fmla="*/ 686419 h 761503"/>
                <a:gd name="connsiteX49" fmla="*/ 60898 w 571128"/>
                <a:gd name="connsiteY49" fmla="*/ 678260 h 761503"/>
                <a:gd name="connsiteX50" fmla="*/ 77216 w 571128"/>
                <a:gd name="connsiteY50" fmla="*/ 670101 h 761503"/>
                <a:gd name="connsiteX51" fmla="*/ 120730 w 571128"/>
                <a:gd name="connsiteY51" fmla="*/ 664661 h 761503"/>
                <a:gd name="connsiteX52" fmla="*/ 131609 w 571128"/>
                <a:gd name="connsiteY52" fmla="*/ 664661 h 761503"/>
                <a:gd name="connsiteX53" fmla="*/ 134329 w 571128"/>
                <a:gd name="connsiteY53" fmla="*/ 539557 h 761503"/>
                <a:gd name="connsiteX54" fmla="*/ 134329 w 571128"/>
                <a:gd name="connsiteY54" fmla="*/ 504202 h 761503"/>
                <a:gd name="connsiteX55" fmla="*/ 131609 w 571128"/>
                <a:gd name="connsiteY55" fmla="*/ 376378 h 761503"/>
                <a:gd name="connsiteX56" fmla="*/ 131609 w 571128"/>
                <a:gd name="connsiteY56" fmla="*/ 302947 h 761503"/>
                <a:gd name="connsiteX57" fmla="*/ 134329 w 571128"/>
                <a:gd name="connsiteY57" fmla="*/ 221357 h 761503"/>
                <a:gd name="connsiteX58" fmla="*/ 137048 w 571128"/>
                <a:gd name="connsiteY58" fmla="*/ 123450 h 761503"/>
                <a:gd name="connsiteX59" fmla="*/ 107132 w 571128"/>
                <a:gd name="connsiteY59" fmla="*/ 123450 h 761503"/>
                <a:gd name="connsiteX60" fmla="*/ 88094 w 571128"/>
                <a:gd name="connsiteY60" fmla="*/ 123450 h 761503"/>
                <a:gd name="connsiteX61" fmla="*/ 69057 w 571128"/>
                <a:gd name="connsiteY61" fmla="*/ 118011 h 761503"/>
                <a:gd name="connsiteX62" fmla="*/ 58178 w 571128"/>
                <a:gd name="connsiteY62" fmla="*/ 101693 h 761503"/>
                <a:gd name="connsiteX63" fmla="*/ 60898 w 571128"/>
                <a:gd name="connsiteY63" fmla="*/ 93534 h 761503"/>
                <a:gd name="connsiteX64" fmla="*/ 77216 w 571128"/>
                <a:gd name="connsiteY64" fmla="*/ 85375 h 761503"/>
                <a:gd name="connsiteX65" fmla="*/ 131609 w 571128"/>
                <a:gd name="connsiteY65" fmla="*/ 79936 h 761503"/>
                <a:gd name="connsiteX66" fmla="*/ 161525 w 571128"/>
                <a:gd name="connsiteY66" fmla="*/ 79936 h 761503"/>
                <a:gd name="connsiteX67" fmla="*/ 177843 w 571128"/>
                <a:gd name="connsiteY67" fmla="*/ 66337 h 761503"/>
                <a:gd name="connsiteX68" fmla="*/ 202320 w 571128"/>
                <a:gd name="connsiteY68" fmla="*/ 58178 h 761503"/>
                <a:gd name="connsiteX69" fmla="*/ 234956 w 571128"/>
                <a:gd name="connsiteY69" fmla="*/ 77216 h 761503"/>
                <a:gd name="connsiteX70" fmla="*/ 251274 w 571128"/>
                <a:gd name="connsiteY70" fmla="*/ 107132 h 761503"/>
                <a:gd name="connsiteX71" fmla="*/ 267592 w 571128"/>
                <a:gd name="connsiteY71" fmla="*/ 147927 h 761503"/>
                <a:gd name="connsiteX72" fmla="*/ 281190 w 571128"/>
                <a:gd name="connsiteY72" fmla="*/ 183282 h 761503"/>
                <a:gd name="connsiteX73" fmla="*/ 297508 w 571128"/>
                <a:gd name="connsiteY73" fmla="*/ 224077 h 761503"/>
                <a:gd name="connsiteX74" fmla="*/ 308387 w 571128"/>
                <a:gd name="connsiteY74" fmla="*/ 264872 h 761503"/>
                <a:gd name="connsiteX75" fmla="*/ 319265 w 571128"/>
                <a:gd name="connsiteY75" fmla="*/ 300228 h 761503"/>
                <a:gd name="connsiteX76" fmla="*/ 351901 w 571128"/>
                <a:gd name="connsiteY76" fmla="*/ 379098 h 761503"/>
                <a:gd name="connsiteX77" fmla="*/ 365500 w 571128"/>
                <a:gd name="connsiteY77" fmla="*/ 417173 h 761503"/>
                <a:gd name="connsiteX78" fmla="*/ 379098 w 571128"/>
                <a:gd name="connsiteY78" fmla="*/ 457968 h 761503"/>
                <a:gd name="connsiteX79" fmla="*/ 395416 w 571128"/>
                <a:gd name="connsiteY79" fmla="*/ 496043 h 761503"/>
                <a:gd name="connsiteX80" fmla="*/ 406295 w 571128"/>
                <a:gd name="connsiteY80" fmla="*/ 512361 h 761503"/>
                <a:gd name="connsiteX81" fmla="*/ 411734 w 571128"/>
                <a:gd name="connsiteY81" fmla="*/ 531398 h 761503"/>
                <a:gd name="connsiteX82" fmla="*/ 419893 w 571128"/>
                <a:gd name="connsiteY82" fmla="*/ 558595 h 761503"/>
                <a:gd name="connsiteX83" fmla="*/ 425332 w 571128"/>
                <a:gd name="connsiteY83" fmla="*/ 564034 h 761503"/>
                <a:gd name="connsiteX84" fmla="*/ 430771 w 571128"/>
                <a:gd name="connsiteY84" fmla="*/ 558595 h 761503"/>
                <a:gd name="connsiteX85" fmla="*/ 430771 w 571128"/>
                <a:gd name="connsiteY85" fmla="*/ 550436 h 761503"/>
                <a:gd name="connsiteX86" fmla="*/ 430771 w 571128"/>
                <a:gd name="connsiteY86" fmla="*/ 501482 h 761503"/>
                <a:gd name="connsiteX87" fmla="*/ 430771 w 571128"/>
                <a:gd name="connsiteY87" fmla="*/ 403575 h 761503"/>
                <a:gd name="connsiteX88" fmla="*/ 425332 w 571128"/>
                <a:gd name="connsiteY88" fmla="*/ 313826 h 761503"/>
                <a:gd name="connsiteX89" fmla="*/ 425332 w 571128"/>
                <a:gd name="connsiteY89" fmla="*/ 248554 h 761503"/>
                <a:gd name="connsiteX90" fmla="*/ 425332 w 571128"/>
                <a:gd name="connsiteY90" fmla="*/ 210479 h 761503"/>
                <a:gd name="connsiteX91" fmla="*/ 422613 w 571128"/>
                <a:gd name="connsiteY91" fmla="*/ 153366 h 761503"/>
                <a:gd name="connsiteX92" fmla="*/ 425332 w 571128"/>
                <a:gd name="connsiteY92" fmla="*/ 123450 h 761503"/>
                <a:gd name="connsiteX93" fmla="*/ 398136 w 571128"/>
                <a:gd name="connsiteY93" fmla="*/ 123450 h 761503"/>
                <a:gd name="connsiteX94" fmla="*/ 379098 w 571128"/>
                <a:gd name="connsiteY94" fmla="*/ 123450 h 761503"/>
                <a:gd name="connsiteX95" fmla="*/ 360060 w 571128"/>
                <a:gd name="connsiteY95" fmla="*/ 118011 h 761503"/>
                <a:gd name="connsiteX96" fmla="*/ 349182 w 571128"/>
                <a:gd name="connsiteY96" fmla="*/ 101693 h 761503"/>
                <a:gd name="connsiteX97" fmla="*/ 351901 w 571128"/>
                <a:gd name="connsiteY97" fmla="*/ 93534 h 761503"/>
                <a:gd name="connsiteX98" fmla="*/ 368219 w 571128"/>
                <a:gd name="connsiteY98" fmla="*/ 85375 h 761503"/>
                <a:gd name="connsiteX99" fmla="*/ 422613 w 571128"/>
                <a:gd name="connsiteY99" fmla="*/ 79936 h 761503"/>
                <a:gd name="connsiteX100" fmla="*/ 444370 w 571128"/>
                <a:gd name="connsiteY100" fmla="*/ 79936 h 761503"/>
                <a:gd name="connsiteX101" fmla="*/ 463407 w 571128"/>
                <a:gd name="connsiteY101" fmla="*/ 71776 h 761503"/>
                <a:gd name="connsiteX102" fmla="*/ 477006 w 571128"/>
                <a:gd name="connsiteY102" fmla="*/ 79936 h 761503"/>
                <a:gd name="connsiteX103" fmla="*/ 512361 w 571128"/>
                <a:gd name="connsiteY103" fmla="*/ 79936 h 761503"/>
                <a:gd name="connsiteX104" fmla="*/ 512361 w 571128"/>
                <a:gd name="connsiteY104" fmla="*/ 79936 h 76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571128" h="761503">
                  <a:moveTo>
                    <a:pt x="512361" y="79936"/>
                  </a:moveTo>
                  <a:cubicBezTo>
                    <a:pt x="520520" y="79936"/>
                    <a:pt x="539558" y="79936"/>
                    <a:pt x="539558" y="96253"/>
                  </a:cubicBezTo>
                  <a:cubicBezTo>
                    <a:pt x="539558" y="104412"/>
                    <a:pt x="539558" y="107132"/>
                    <a:pt x="534118" y="112571"/>
                  </a:cubicBezTo>
                  <a:cubicBezTo>
                    <a:pt x="531399" y="118011"/>
                    <a:pt x="525960" y="120730"/>
                    <a:pt x="523240" y="120730"/>
                  </a:cubicBezTo>
                  <a:cubicBezTo>
                    <a:pt x="515081" y="123450"/>
                    <a:pt x="512361" y="123450"/>
                    <a:pt x="506922" y="123450"/>
                  </a:cubicBezTo>
                  <a:cubicBezTo>
                    <a:pt x="504202" y="123450"/>
                    <a:pt x="490604" y="123450"/>
                    <a:pt x="477006" y="123450"/>
                  </a:cubicBezTo>
                  <a:cubicBezTo>
                    <a:pt x="477006" y="131609"/>
                    <a:pt x="479725" y="137048"/>
                    <a:pt x="479725" y="145207"/>
                  </a:cubicBezTo>
                  <a:cubicBezTo>
                    <a:pt x="479725" y="156086"/>
                    <a:pt x="477006" y="166964"/>
                    <a:pt x="477006" y="180563"/>
                  </a:cubicBezTo>
                  <a:cubicBezTo>
                    <a:pt x="477006" y="196881"/>
                    <a:pt x="479725" y="215918"/>
                    <a:pt x="482445" y="232236"/>
                  </a:cubicBezTo>
                  <a:cubicBezTo>
                    <a:pt x="485165" y="248554"/>
                    <a:pt x="485165" y="267592"/>
                    <a:pt x="485165" y="283910"/>
                  </a:cubicBezTo>
                  <a:cubicBezTo>
                    <a:pt x="485165" y="297508"/>
                    <a:pt x="485165" y="313826"/>
                    <a:pt x="485165" y="327424"/>
                  </a:cubicBezTo>
                  <a:cubicBezTo>
                    <a:pt x="485165" y="343742"/>
                    <a:pt x="487884" y="357340"/>
                    <a:pt x="487884" y="373658"/>
                  </a:cubicBezTo>
                  <a:cubicBezTo>
                    <a:pt x="487884" y="389976"/>
                    <a:pt x="485165" y="403575"/>
                    <a:pt x="485165" y="419892"/>
                  </a:cubicBezTo>
                  <a:cubicBezTo>
                    <a:pt x="485165" y="436210"/>
                    <a:pt x="485165" y="449809"/>
                    <a:pt x="485165" y="463407"/>
                  </a:cubicBezTo>
                  <a:cubicBezTo>
                    <a:pt x="485165" y="479725"/>
                    <a:pt x="485165" y="498762"/>
                    <a:pt x="482445" y="515080"/>
                  </a:cubicBezTo>
                  <a:cubicBezTo>
                    <a:pt x="482445" y="528679"/>
                    <a:pt x="482445" y="542277"/>
                    <a:pt x="482445" y="558595"/>
                  </a:cubicBezTo>
                  <a:cubicBezTo>
                    <a:pt x="482445" y="572193"/>
                    <a:pt x="479725" y="588511"/>
                    <a:pt x="479725" y="602109"/>
                  </a:cubicBezTo>
                  <a:cubicBezTo>
                    <a:pt x="479725" y="615708"/>
                    <a:pt x="485165" y="632026"/>
                    <a:pt x="485165" y="648343"/>
                  </a:cubicBezTo>
                  <a:cubicBezTo>
                    <a:pt x="485165" y="659222"/>
                    <a:pt x="482445" y="670101"/>
                    <a:pt x="474286" y="675540"/>
                  </a:cubicBezTo>
                  <a:cubicBezTo>
                    <a:pt x="460688" y="686419"/>
                    <a:pt x="444370" y="691858"/>
                    <a:pt x="428052" y="691858"/>
                  </a:cubicBezTo>
                  <a:cubicBezTo>
                    <a:pt x="414454" y="691858"/>
                    <a:pt x="400855" y="689138"/>
                    <a:pt x="387257" y="683699"/>
                  </a:cubicBezTo>
                  <a:cubicBezTo>
                    <a:pt x="373659" y="678260"/>
                    <a:pt x="360060" y="672820"/>
                    <a:pt x="351901" y="664661"/>
                  </a:cubicBezTo>
                  <a:cubicBezTo>
                    <a:pt x="330144" y="645624"/>
                    <a:pt x="316546" y="621147"/>
                    <a:pt x="305667" y="596670"/>
                  </a:cubicBezTo>
                  <a:cubicBezTo>
                    <a:pt x="292069" y="569473"/>
                    <a:pt x="281190" y="539557"/>
                    <a:pt x="270312" y="509641"/>
                  </a:cubicBezTo>
                  <a:cubicBezTo>
                    <a:pt x="264872" y="493323"/>
                    <a:pt x="256713" y="477005"/>
                    <a:pt x="251274" y="460687"/>
                  </a:cubicBezTo>
                  <a:cubicBezTo>
                    <a:pt x="240395" y="433491"/>
                    <a:pt x="232236" y="409014"/>
                    <a:pt x="224077" y="381817"/>
                  </a:cubicBezTo>
                  <a:cubicBezTo>
                    <a:pt x="218638" y="365499"/>
                    <a:pt x="213199" y="346462"/>
                    <a:pt x="207759" y="330144"/>
                  </a:cubicBezTo>
                  <a:cubicBezTo>
                    <a:pt x="202320" y="316545"/>
                    <a:pt x="196881" y="300228"/>
                    <a:pt x="191442" y="286629"/>
                  </a:cubicBezTo>
                  <a:cubicBezTo>
                    <a:pt x="188722" y="281190"/>
                    <a:pt x="186002" y="278470"/>
                    <a:pt x="183283" y="278470"/>
                  </a:cubicBezTo>
                  <a:cubicBezTo>
                    <a:pt x="180563" y="278470"/>
                    <a:pt x="180563" y="286629"/>
                    <a:pt x="180563" y="292069"/>
                  </a:cubicBezTo>
                  <a:cubicBezTo>
                    <a:pt x="180563" y="297508"/>
                    <a:pt x="180563" y="302947"/>
                    <a:pt x="180563" y="305667"/>
                  </a:cubicBezTo>
                  <a:cubicBezTo>
                    <a:pt x="180563" y="321985"/>
                    <a:pt x="183283" y="338303"/>
                    <a:pt x="183283" y="354621"/>
                  </a:cubicBezTo>
                  <a:cubicBezTo>
                    <a:pt x="183283" y="387257"/>
                    <a:pt x="186002" y="417173"/>
                    <a:pt x="188722" y="449809"/>
                  </a:cubicBezTo>
                  <a:cubicBezTo>
                    <a:pt x="188722" y="460687"/>
                    <a:pt x="188722" y="468846"/>
                    <a:pt x="188722" y="479725"/>
                  </a:cubicBezTo>
                  <a:cubicBezTo>
                    <a:pt x="188722" y="501482"/>
                    <a:pt x="188722" y="523239"/>
                    <a:pt x="188722" y="542277"/>
                  </a:cubicBezTo>
                  <a:cubicBezTo>
                    <a:pt x="188722" y="566754"/>
                    <a:pt x="186002" y="591231"/>
                    <a:pt x="186002" y="615708"/>
                  </a:cubicBezTo>
                  <a:cubicBezTo>
                    <a:pt x="186002" y="623867"/>
                    <a:pt x="186002" y="632026"/>
                    <a:pt x="186002" y="637465"/>
                  </a:cubicBezTo>
                  <a:cubicBezTo>
                    <a:pt x="186002" y="645624"/>
                    <a:pt x="183283" y="656502"/>
                    <a:pt x="183283" y="664661"/>
                  </a:cubicBezTo>
                  <a:cubicBezTo>
                    <a:pt x="202320" y="664661"/>
                    <a:pt x="218638" y="664661"/>
                    <a:pt x="226797" y="664661"/>
                  </a:cubicBezTo>
                  <a:cubicBezTo>
                    <a:pt x="234956" y="664661"/>
                    <a:pt x="253994" y="664661"/>
                    <a:pt x="253994" y="680979"/>
                  </a:cubicBezTo>
                  <a:cubicBezTo>
                    <a:pt x="253994" y="689138"/>
                    <a:pt x="253994" y="691858"/>
                    <a:pt x="248554" y="697297"/>
                  </a:cubicBezTo>
                  <a:cubicBezTo>
                    <a:pt x="245835" y="702737"/>
                    <a:pt x="240395" y="705456"/>
                    <a:pt x="234956" y="705456"/>
                  </a:cubicBezTo>
                  <a:cubicBezTo>
                    <a:pt x="226797" y="708176"/>
                    <a:pt x="224077" y="708176"/>
                    <a:pt x="218638" y="708176"/>
                  </a:cubicBezTo>
                  <a:cubicBezTo>
                    <a:pt x="215918" y="708176"/>
                    <a:pt x="199600" y="708176"/>
                    <a:pt x="183283" y="708176"/>
                  </a:cubicBezTo>
                  <a:cubicBezTo>
                    <a:pt x="166965" y="708176"/>
                    <a:pt x="153366" y="708176"/>
                    <a:pt x="150647" y="708176"/>
                  </a:cubicBezTo>
                  <a:cubicBezTo>
                    <a:pt x="139768" y="708176"/>
                    <a:pt x="120730" y="708176"/>
                    <a:pt x="107132" y="708176"/>
                  </a:cubicBezTo>
                  <a:cubicBezTo>
                    <a:pt x="101693" y="708176"/>
                    <a:pt x="96253" y="708176"/>
                    <a:pt x="88094" y="708176"/>
                  </a:cubicBezTo>
                  <a:cubicBezTo>
                    <a:pt x="82655" y="708176"/>
                    <a:pt x="74496" y="708176"/>
                    <a:pt x="69057" y="702737"/>
                  </a:cubicBezTo>
                  <a:cubicBezTo>
                    <a:pt x="63618" y="700017"/>
                    <a:pt x="58178" y="691858"/>
                    <a:pt x="58178" y="686419"/>
                  </a:cubicBezTo>
                  <a:cubicBezTo>
                    <a:pt x="58178" y="683699"/>
                    <a:pt x="58178" y="680979"/>
                    <a:pt x="60898" y="678260"/>
                  </a:cubicBezTo>
                  <a:cubicBezTo>
                    <a:pt x="63618" y="675540"/>
                    <a:pt x="71777" y="672820"/>
                    <a:pt x="77216" y="670101"/>
                  </a:cubicBezTo>
                  <a:cubicBezTo>
                    <a:pt x="90814" y="667381"/>
                    <a:pt x="115291" y="664661"/>
                    <a:pt x="120730" y="664661"/>
                  </a:cubicBezTo>
                  <a:cubicBezTo>
                    <a:pt x="123450" y="664661"/>
                    <a:pt x="126170" y="664661"/>
                    <a:pt x="131609" y="664661"/>
                  </a:cubicBezTo>
                  <a:cubicBezTo>
                    <a:pt x="131609" y="623867"/>
                    <a:pt x="134329" y="583072"/>
                    <a:pt x="134329" y="539557"/>
                  </a:cubicBezTo>
                  <a:cubicBezTo>
                    <a:pt x="134329" y="528679"/>
                    <a:pt x="134329" y="515080"/>
                    <a:pt x="134329" y="504202"/>
                  </a:cubicBezTo>
                  <a:cubicBezTo>
                    <a:pt x="131609" y="460687"/>
                    <a:pt x="131609" y="417173"/>
                    <a:pt x="131609" y="376378"/>
                  </a:cubicBezTo>
                  <a:cubicBezTo>
                    <a:pt x="131609" y="351901"/>
                    <a:pt x="131609" y="327424"/>
                    <a:pt x="131609" y="302947"/>
                  </a:cubicBezTo>
                  <a:cubicBezTo>
                    <a:pt x="131609" y="275751"/>
                    <a:pt x="131609" y="248554"/>
                    <a:pt x="134329" y="221357"/>
                  </a:cubicBezTo>
                  <a:cubicBezTo>
                    <a:pt x="134329" y="188722"/>
                    <a:pt x="137048" y="156086"/>
                    <a:pt x="137048" y="123450"/>
                  </a:cubicBezTo>
                  <a:cubicBezTo>
                    <a:pt x="126170" y="123450"/>
                    <a:pt x="115291" y="123450"/>
                    <a:pt x="107132" y="123450"/>
                  </a:cubicBezTo>
                  <a:cubicBezTo>
                    <a:pt x="101693" y="123450"/>
                    <a:pt x="96253" y="123450"/>
                    <a:pt x="88094" y="123450"/>
                  </a:cubicBezTo>
                  <a:cubicBezTo>
                    <a:pt x="82655" y="123450"/>
                    <a:pt x="74496" y="120730"/>
                    <a:pt x="69057" y="118011"/>
                  </a:cubicBezTo>
                  <a:cubicBezTo>
                    <a:pt x="63618" y="115291"/>
                    <a:pt x="58178" y="107132"/>
                    <a:pt x="58178" y="101693"/>
                  </a:cubicBezTo>
                  <a:cubicBezTo>
                    <a:pt x="58178" y="98973"/>
                    <a:pt x="58178" y="96253"/>
                    <a:pt x="60898" y="93534"/>
                  </a:cubicBezTo>
                  <a:cubicBezTo>
                    <a:pt x="63618" y="90814"/>
                    <a:pt x="71777" y="88095"/>
                    <a:pt x="77216" y="85375"/>
                  </a:cubicBezTo>
                  <a:cubicBezTo>
                    <a:pt x="90814" y="82655"/>
                    <a:pt x="126170" y="79936"/>
                    <a:pt x="131609" y="79936"/>
                  </a:cubicBezTo>
                  <a:cubicBezTo>
                    <a:pt x="137048" y="79936"/>
                    <a:pt x="147927" y="79936"/>
                    <a:pt x="161525" y="79936"/>
                  </a:cubicBezTo>
                  <a:cubicBezTo>
                    <a:pt x="166965" y="74496"/>
                    <a:pt x="172404" y="71776"/>
                    <a:pt x="177843" y="66337"/>
                  </a:cubicBezTo>
                  <a:cubicBezTo>
                    <a:pt x="186002" y="60898"/>
                    <a:pt x="194161" y="58178"/>
                    <a:pt x="202320" y="58178"/>
                  </a:cubicBezTo>
                  <a:cubicBezTo>
                    <a:pt x="215918" y="58178"/>
                    <a:pt x="226797" y="63618"/>
                    <a:pt x="234956" y="77216"/>
                  </a:cubicBezTo>
                  <a:cubicBezTo>
                    <a:pt x="240395" y="88095"/>
                    <a:pt x="248554" y="96253"/>
                    <a:pt x="251274" y="107132"/>
                  </a:cubicBezTo>
                  <a:cubicBezTo>
                    <a:pt x="256713" y="120730"/>
                    <a:pt x="259433" y="134329"/>
                    <a:pt x="267592" y="147927"/>
                  </a:cubicBezTo>
                  <a:cubicBezTo>
                    <a:pt x="273031" y="158806"/>
                    <a:pt x="275751" y="172404"/>
                    <a:pt x="281190" y="183282"/>
                  </a:cubicBezTo>
                  <a:cubicBezTo>
                    <a:pt x="286630" y="196881"/>
                    <a:pt x="292069" y="210479"/>
                    <a:pt x="297508" y="224077"/>
                  </a:cubicBezTo>
                  <a:cubicBezTo>
                    <a:pt x="300228" y="237676"/>
                    <a:pt x="305667" y="251274"/>
                    <a:pt x="308387" y="264872"/>
                  </a:cubicBezTo>
                  <a:cubicBezTo>
                    <a:pt x="311107" y="278470"/>
                    <a:pt x="311107" y="289349"/>
                    <a:pt x="319265" y="300228"/>
                  </a:cubicBezTo>
                  <a:cubicBezTo>
                    <a:pt x="332864" y="324704"/>
                    <a:pt x="346462" y="351901"/>
                    <a:pt x="351901" y="379098"/>
                  </a:cubicBezTo>
                  <a:cubicBezTo>
                    <a:pt x="354621" y="392696"/>
                    <a:pt x="360060" y="403575"/>
                    <a:pt x="365500" y="417173"/>
                  </a:cubicBezTo>
                  <a:cubicBezTo>
                    <a:pt x="373659" y="430771"/>
                    <a:pt x="373659" y="444369"/>
                    <a:pt x="379098" y="457968"/>
                  </a:cubicBezTo>
                  <a:cubicBezTo>
                    <a:pt x="381818" y="471566"/>
                    <a:pt x="387257" y="482445"/>
                    <a:pt x="395416" y="496043"/>
                  </a:cubicBezTo>
                  <a:cubicBezTo>
                    <a:pt x="398136" y="501482"/>
                    <a:pt x="403575" y="506921"/>
                    <a:pt x="406295" y="512361"/>
                  </a:cubicBezTo>
                  <a:cubicBezTo>
                    <a:pt x="409014" y="517800"/>
                    <a:pt x="409014" y="525959"/>
                    <a:pt x="411734" y="531398"/>
                  </a:cubicBezTo>
                  <a:cubicBezTo>
                    <a:pt x="414454" y="539557"/>
                    <a:pt x="417173" y="550436"/>
                    <a:pt x="419893" y="558595"/>
                  </a:cubicBezTo>
                  <a:cubicBezTo>
                    <a:pt x="422613" y="561314"/>
                    <a:pt x="422613" y="564034"/>
                    <a:pt x="425332" y="564034"/>
                  </a:cubicBezTo>
                  <a:cubicBezTo>
                    <a:pt x="428052" y="564034"/>
                    <a:pt x="428052" y="561314"/>
                    <a:pt x="430771" y="558595"/>
                  </a:cubicBezTo>
                  <a:cubicBezTo>
                    <a:pt x="430771" y="555875"/>
                    <a:pt x="430771" y="553156"/>
                    <a:pt x="430771" y="550436"/>
                  </a:cubicBezTo>
                  <a:cubicBezTo>
                    <a:pt x="430771" y="534118"/>
                    <a:pt x="430771" y="517800"/>
                    <a:pt x="430771" y="501482"/>
                  </a:cubicBezTo>
                  <a:cubicBezTo>
                    <a:pt x="430771" y="468846"/>
                    <a:pt x="433491" y="436210"/>
                    <a:pt x="430771" y="403575"/>
                  </a:cubicBezTo>
                  <a:cubicBezTo>
                    <a:pt x="430771" y="373658"/>
                    <a:pt x="425332" y="343742"/>
                    <a:pt x="425332" y="313826"/>
                  </a:cubicBezTo>
                  <a:cubicBezTo>
                    <a:pt x="425332" y="292069"/>
                    <a:pt x="425332" y="270311"/>
                    <a:pt x="425332" y="248554"/>
                  </a:cubicBezTo>
                  <a:cubicBezTo>
                    <a:pt x="425332" y="234956"/>
                    <a:pt x="425332" y="224077"/>
                    <a:pt x="425332" y="210479"/>
                  </a:cubicBezTo>
                  <a:cubicBezTo>
                    <a:pt x="425332" y="191441"/>
                    <a:pt x="422613" y="172404"/>
                    <a:pt x="422613" y="153366"/>
                  </a:cubicBezTo>
                  <a:cubicBezTo>
                    <a:pt x="422613" y="142488"/>
                    <a:pt x="422613" y="134329"/>
                    <a:pt x="425332" y="123450"/>
                  </a:cubicBezTo>
                  <a:cubicBezTo>
                    <a:pt x="417173" y="123450"/>
                    <a:pt x="406295" y="123450"/>
                    <a:pt x="398136" y="123450"/>
                  </a:cubicBezTo>
                  <a:cubicBezTo>
                    <a:pt x="392696" y="123450"/>
                    <a:pt x="387257" y="123450"/>
                    <a:pt x="379098" y="123450"/>
                  </a:cubicBezTo>
                  <a:cubicBezTo>
                    <a:pt x="373659" y="123450"/>
                    <a:pt x="365500" y="120730"/>
                    <a:pt x="360060" y="118011"/>
                  </a:cubicBezTo>
                  <a:cubicBezTo>
                    <a:pt x="354621" y="115291"/>
                    <a:pt x="349182" y="107132"/>
                    <a:pt x="349182" y="101693"/>
                  </a:cubicBezTo>
                  <a:cubicBezTo>
                    <a:pt x="349182" y="98973"/>
                    <a:pt x="349182" y="96253"/>
                    <a:pt x="351901" y="93534"/>
                  </a:cubicBezTo>
                  <a:cubicBezTo>
                    <a:pt x="354621" y="90814"/>
                    <a:pt x="362780" y="88095"/>
                    <a:pt x="368219" y="85375"/>
                  </a:cubicBezTo>
                  <a:cubicBezTo>
                    <a:pt x="381818" y="82655"/>
                    <a:pt x="417173" y="79936"/>
                    <a:pt x="422613" y="79936"/>
                  </a:cubicBezTo>
                  <a:cubicBezTo>
                    <a:pt x="428052" y="79936"/>
                    <a:pt x="433491" y="79936"/>
                    <a:pt x="444370" y="79936"/>
                  </a:cubicBezTo>
                  <a:cubicBezTo>
                    <a:pt x="449809" y="74496"/>
                    <a:pt x="455248" y="71776"/>
                    <a:pt x="463407" y="71776"/>
                  </a:cubicBezTo>
                  <a:cubicBezTo>
                    <a:pt x="471566" y="71776"/>
                    <a:pt x="477006" y="74496"/>
                    <a:pt x="477006" y="79936"/>
                  </a:cubicBezTo>
                  <a:cubicBezTo>
                    <a:pt x="490604" y="82655"/>
                    <a:pt x="504202" y="79936"/>
                    <a:pt x="512361" y="79936"/>
                  </a:cubicBezTo>
                  <a:lnTo>
                    <a:pt x="512361" y="79936"/>
                  </a:lnTo>
                  <a:close/>
                </a:path>
              </a:pathLst>
            </a:custGeom>
            <a:grpFill/>
            <a:ln w="27168"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96547FA5-D18E-4F25-B148-B4BC423277AB}"/>
                </a:ext>
              </a:extLst>
            </p:cNvPr>
            <p:cNvSpPr/>
            <p:nvPr/>
          </p:nvSpPr>
          <p:spPr>
            <a:xfrm>
              <a:off x="2987430" y="4242177"/>
              <a:ext cx="494979" cy="674476"/>
            </a:xfrm>
            <a:custGeom>
              <a:avLst/>
              <a:gdLst>
                <a:gd name="connsiteX0" fmla="*/ 228453 w 494979"/>
                <a:gd name="connsiteY0" fmla="*/ 97907 h 674476"/>
                <a:gd name="connsiteX1" fmla="*/ 212135 w 494979"/>
                <a:gd name="connsiteY1" fmla="*/ 119665 h 674476"/>
                <a:gd name="connsiteX2" fmla="*/ 203976 w 494979"/>
                <a:gd name="connsiteY2" fmla="*/ 152300 h 674476"/>
                <a:gd name="connsiteX3" fmla="*/ 201256 w 494979"/>
                <a:gd name="connsiteY3" fmla="*/ 168618 h 674476"/>
                <a:gd name="connsiteX4" fmla="*/ 198537 w 494979"/>
                <a:gd name="connsiteY4" fmla="*/ 184936 h 674476"/>
                <a:gd name="connsiteX5" fmla="*/ 190378 w 494979"/>
                <a:gd name="connsiteY5" fmla="*/ 220292 h 674476"/>
                <a:gd name="connsiteX6" fmla="*/ 171340 w 494979"/>
                <a:gd name="connsiteY6" fmla="*/ 291003 h 674476"/>
                <a:gd name="connsiteX7" fmla="*/ 163180 w 494979"/>
                <a:gd name="connsiteY7" fmla="*/ 323639 h 674476"/>
                <a:gd name="connsiteX8" fmla="*/ 152302 w 494979"/>
                <a:gd name="connsiteY8" fmla="*/ 361714 h 674476"/>
                <a:gd name="connsiteX9" fmla="*/ 146862 w 494979"/>
                <a:gd name="connsiteY9" fmla="*/ 388910 h 674476"/>
                <a:gd name="connsiteX10" fmla="*/ 152302 w 494979"/>
                <a:gd name="connsiteY10" fmla="*/ 391630 h 674476"/>
                <a:gd name="connsiteX11" fmla="*/ 174060 w 494979"/>
                <a:gd name="connsiteY11" fmla="*/ 391630 h 674476"/>
                <a:gd name="connsiteX12" fmla="*/ 195817 w 494979"/>
                <a:gd name="connsiteY12" fmla="*/ 388910 h 674476"/>
                <a:gd name="connsiteX13" fmla="*/ 214855 w 494979"/>
                <a:gd name="connsiteY13" fmla="*/ 388910 h 674476"/>
                <a:gd name="connsiteX14" fmla="*/ 239332 w 494979"/>
                <a:gd name="connsiteY14" fmla="*/ 388910 h 674476"/>
                <a:gd name="connsiteX15" fmla="*/ 252930 w 494979"/>
                <a:gd name="connsiteY15" fmla="*/ 386191 h 674476"/>
                <a:gd name="connsiteX16" fmla="*/ 261089 w 494979"/>
                <a:gd name="connsiteY16" fmla="*/ 386191 h 674476"/>
                <a:gd name="connsiteX17" fmla="*/ 258369 w 494979"/>
                <a:gd name="connsiteY17" fmla="*/ 367153 h 674476"/>
                <a:gd name="connsiteX18" fmla="*/ 252930 w 494979"/>
                <a:gd name="connsiteY18" fmla="*/ 331797 h 674476"/>
                <a:gd name="connsiteX19" fmla="*/ 250210 w 494979"/>
                <a:gd name="connsiteY19" fmla="*/ 244769 h 674476"/>
                <a:gd name="connsiteX20" fmla="*/ 244771 w 494979"/>
                <a:gd name="connsiteY20" fmla="*/ 203974 h 674476"/>
                <a:gd name="connsiteX21" fmla="*/ 239332 w 494979"/>
                <a:gd name="connsiteY21" fmla="*/ 157740 h 674476"/>
                <a:gd name="connsiteX22" fmla="*/ 236612 w 494979"/>
                <a:gd name="connsiteY22" fmla="*/ 119665 h 674476"/>
                <a:gd name="connsiteX23" fmla="*/ 228453 w 494979"/>
                <a:gd name="connsiteY23" fmla="*/ 97907 h 674476"/>
                <a:gd name="connsiteX24" fmla="*/ 274687 w 494979"/>
                <a:gd name="connsiteY24" fmla="*/ 0 h 674476"/>
                <a:gd name="connsiteX25" fmla="*/ 304603 w 494979"/>
                <a:gd name="connsiteY25" fmla="*/ 5439 h 674476"/>
                <a:gd name="connsiteX26" fmla="*/ 320921 w 494979"/>
                <a:gd name="connsiteY26" fmla="*/ 24477 h 674476"/>
                <a:gd name="connsiteX27" fmla="*/ 334519 w 494979"/>
                <a:gd name="connsiteY27" fmla="*/ 43515 h 674476"/>
                <a:gd name="connsiteX28" fmla="*/ 339959 w 494979"/>
                <a:gd name="connsiteY28" fmla="*/ 65272 h 674476"/>
                <a:gd name="connsiteX29" fmla="*/ 348118 w 494979"/>
                <a:gd name="connsiteY29" fmla="*/ 114226 h 674476"/>
                <a:gd name="connsiteX30" fmla="*/ 361716 w 494979"/>
                <a:gd name="connsiteY30" fmla="*/ 163180 h 674476"/>
                <a:gd name="connsiteX31" fmla="*/ 369875 w 494979"/>
                <a:gd name="connsiteY31" fmla="*/ 220293 h 674476"/>
                <a:gd name="connsiteX32" fmla="*/ 378034 w 494979"/>
                <a:gd name="connsiteY32" fmla="*/ 274686 h 674476"/>
                <a:gd name="connsiteX33" fmla="*/ 383473 w 494979"/>
                <a:gd name="connsiteY33" fmla="*/ 301883 h 674476"/>
                <a:gd name="connsiteX34" fmla="*/ 391632 w 494979"/>
                <a:gd name="connsiteY34" fmla="*/ 337238 h 674476"/>
                <a:gd name="connsiteX35" fmla="*/ 397071 w 494979"/>
                <a:gd name="connsiteY35" fmla="*/ 364435 h 674476"/>
                <a:gd name="connsiteX36" fmla="*/ 405230 w 494979"/>
                <a:gd name="connsiteY36" fmla="*/ 383473 h 674476"/>
                <a:gd name="connsiteX37" fmla="*/ 416109 w 494979"/>
                <a:gd name="connsiteY37" fmla="*/ 386192 h 674476"/>
                <a:gd name="connsiteX38" fmla="*/ 426988 w 494979"/>
                <a:gd name="connsiteY38" fmla="*/ 386192 h 674476"/>
                <a:gd name="connsiteX39" fmla="*/ 454184 w 494979"/>
                <a:gd name="connsiteY39" fmla="*/ 397071 h 674476"/>
                <a:gd name="connsiteX40" fmla="*/ 456904 w 494979"/>
                <a:gd name="connsiteY40" fmla="*/ 405230 h 674476"/>
                <a:gd name="connsiteX41" fmla="*/ 451465 w 494979"/>
                <a:gd name="connsiteY41" fmla="*/ 416108 h 674476"/>
                <a:gd name="connsiteX42" fmla="*/ 432427 w 494979"/>
                <a:gd name="connsiteY42" fmla="*/ 429707 h 674476"/>
                <a:gd name="connsiteX43" fmla="*/ 421548 w 494979"/>
                <a:gd name="connsiteY43" fmla="*/ 432426 h 674476"/>
                <a:gd name="connsiteX44" fmla="*/ 413389 w 494979"/>
                <a:gd name="connsiteY44" fmla="*/ 435146 h 674476"/>
                <a:gd name="connsiteX45" fmla="*/ 413389 w 494979"/>
                <a:gd name="connsiteY45" fmla="*/ 440585 h 674476"/>
                <a:gd name="connsiteX46" fmla="*/ 416109 w 494979"/>
                <a:gd name="connsiteY46" fmla="*/ 451464 h 674476"/>
                <a:gd name="connsiteX47" fmla="*/ 418829 w 494979"/>
                <a:gd name="connsiteY47" fmla="*/ 465062 h 674476"/>
                <a:gd name="connsiteX48" fmla="*/ 418829 w 494979"/>
                <a:gd name="connsiteY48" fmla="*/ 475941 h 674476"/>
                <a:gd name="connsiteX49" fmla="*/ 418829 w 494979"/>
                <a:gd name="connsiteY49" fmla="*/ 486820 h 674476"/>
                <a:gd name="connsiteX50" fmla="*/ 426988 w 494979"/>
                <a:gd name="connsiteY50" fmla="*/ 516736 h 674476"/>
                <a:gd name="connsiteX51" fmla="*/ 432427 w 494979"/>
                <a:gd name="connsiteY51" fmla="*/ 543932 h 674476"/>
                <a:gd name="connsiteX52" fmla="*/ 437866 w 494979"/>
                <a:gd name="connsiteY52" fmla="*/ 573848 h 674476"/>
                <a:gd name="connsiteX53" fmla="*/ 443306 w 494979"/>
                <a:gd name="connsiteY53" fmla="*/ 606484 h 674476"/>
                <a:gd name="connsiteX54" fmla="*/ 446025 w 494979"/>
                <a:gd name="connsiteY54" fmla="*/ 617363 h 674476"/>
                <a:gd name="connsiteX55" fmla="*/ 470502 w 494979"/>
                <a:gd name="connsiteY55" fmla="*/ 617363 h 674476"/>
                <a:gd name="connsiteX56" fmla="*/ 494979 w 494979"/>
                <a:gd name="connsiteY56" fmla="*/ 641840 h 674476"/>
                <a:gd name="connsiteX57" fmla="*/ 486820 w 494979"/>
                <a:gd name="connsiteY57" fmla="*/ 655438 h 674476"/>
                <a:gd name="connsiteX58" fmla="*/ 470502 w 494979"/>
                <a:gd name="connsiteY58" fmla="*/ 663597 h 674476"/>
                <a:gd name="connsiteX59" fmla="*/ 446025 w 494979"/>
                <a:gd name="connsiteY59" fmla="*/ 666317 h 674476"/>
                <a:gd name="connsiteX60" fmla="*/ 424268 w 494979"/>
                <a:gd name="connsiteY60" fmla="*/ 666317 h 674476"/>
                <a:gd name="connsiteX61" fmla="*/ 416109 w 494979"/>
                <a:gd name="connsiteY61" fmla="*/ 666317 h 674476"/>
                <a:gd name="connsiteX62" fmla="*/ 402511 w 494979"/>
                <a:gd name="connsiteY62" fmla="*/ 671756 h 674476"/>
                <a:gd name="connsiteX63" fmla="*/ 386193 w 494979"/>
                <a:gd name="connsiteY63" fmla="*/ 674476 h 674476"/>
                <a:gd name="connsiteX64" fmla="*/ 350837 w 494979"/>
                <a:gd name="connsiteY64" fmla="*/ 669036 h 674476"/>
                <a:gd name="connsiteX65" fmla="*/ 329080 w 494979"/>
                <a:gd name="connsiteY65" fmla="*/ 669036 h 674476"/>
                <a:gd name="connsiteX66" fmla="*/ 280126 w 494979"/>
                <a:gd name="connsiteY66" fmla="*/ 669036 h 674476"/>
                <a:gd name="connsiteX67" fmla="*/ 255649 w 494979"/>
                <a:gd name="connsiteY67" fmla="*/ 663597 h 674476"/>
                <a:gd name="connsiteX68" fmla="*/ 239331 w 494979"/>
                <a:gd name="connsiteY68" fmla="*/ 647279 h 674476"/>
                <a:gd name="connsiteX69" fmla="*/ 263808 w 494979"/>
                <a:gd name="connsiteY69" fmla="*/ 630961 h 674476"/>
                <a:gd name="connsiteX70" fmla="*/ 291005 w 494979"/>
                <a:gd name="connsiteY70" fmla="*/ 628241 h 674476"/>
                <a:gd name="connsiteX71" fmla="*/ 288285 w 494979"/>
                <a:gd name="connsiteY71" fmla="*/ 609204 h 674476"/>
                <a:gd name="connsiteX72" fmla="*/ 285565 w 494979"/>
                <a:gd name="connsiteY72" fmla="*/ 582007 h 674476"/>
                <a:gd name="connsiteX73" fmla="*/ 282846 w 494979"/>
                <a:gd name="connsiteY73" fmla="*/ 568409 h 674476"/>
                <a:gd name="connsiteX74" fmla="*/ 285565 w 494979"/>
                <a:gd name="connsiteY74" fmla="*/ 554811 h 674476"/>
                <a:gd name="connsiteX75" fmla="*/ 280126 w 494979"/>
                <a:gd name="connsiteY75" fmla="*/ 538493 h 674476"/>
                <a:gd name="connsiteX76" fmla="*/ 274687 w 494979"/>
                <a:gd name="connsiteY76" fmla="*/ 505857 h 674476"/>
                <a:gd name="connsiteX77" fmla="*/ 271967 w 494979"/>
                <a:gd name="connsiteY77" fmla="*/ 478660 h 674476"/>
                <a:gd name="connsiteX78" fmla="*/ 269247 w 494979"/>
                <a:gd name="connsiteY78" fmla="*/ 446025 h 674476"/>
                <a:gd name="connsiteX79" fmla="*/ 263808 w 494979"/>
                <a:gd name="connsiteY79" fmla="*/ 437866 h 674476"/>
                <a:gd name="connsiteX80" fmla="*/ 252929 w 494979"/>
                <a:gd name="connsiteY80" fmla="*/ 437866 h 674476"/>
                <a:gd name="connsiteX81" fmla="*/ 223013 w 494979"/>
                <a:gd name="connsiteY81" fmla="*/ 440585 h 674476"/>
                <a:gd name="connsiteX82" fmla="*/ 193097 w 494979"/>
                <a:gd name="connsiteY82" fmla="*/ 443305 h 674476"/>
                <a:gd name="connsiteX83" fmla="*/ 168620 w 494979"/>
                <a:gd name="connsiteY83" fmla="*/ 443305 h 674476"/>
                <a:gd name="connsiteX84" fmla="*/ 146862 w 494979"/>
                <a:gd name="connsiteY84" fmla="*/ 440585 h 674476"/>
                <a:gd name="connsiteX85" fmla="*/ 138703 w 494979"/>
                <a:gd name="connsiteY85" fmla="*/ 454184 h 674476"/>
                <a:gd name="connsiteX86" fmla="*/ 133263 w 494979"/>
                <a:gd name="connsiteY86" fmla="*/ 486820 h 674476"/>
                <a:gd name="connsiteX87" fmla="*/ 122385 w 494979"/>
                <a:gd name="connsiteY87" fmla="*/ 541213 h 674476"/>
                <a:gd name="connsiteX88" fmla="*/ 106067 w 494979"/>
                <a:gd name="connsiteY88" fmla="*/ 614643 h 674476"/>
                <a:gd name="connsiteX89" fmla="*/ 135983 w 494979"/>
                <a:gd name="connsiteY89" fmla="*/ 614643 h 674476"/>
                <a:gd name="connsiteX90" fmla="*/ 171340 w 494979"/>
                <a:gd name="connsiteY90" fmla="*/ 630961 h 674476"/>
                <a:gd name="connsiteX91" fmla="*/ 165900 w 494979"/>
                <a:gd name="connsiteY91" fmla="*/ 647279 h 674476"/>
                <a:gd name="connsiteX92" fmla="*/ 149581 w 494979"/>
                <a:gd name="connsiteY92" fmla="*/ 655438 h 674476"/>
                <a:gd name="connsiteX93" fmla="*/ 127824 w 494979"/>
                <a:gd name="connsiteY93" fmla="*/ 658158 h 674476"/>
                <a:gd name="connsiteX94" fmla="*/ 106067 w 494979"/>
                <a:gd name="connsiteY94" fmla="*/ 658158 h 674476"/>
                <a:gd name="connsiteX95" fmla="*/ 62552 w 494979"/>
                <a:gd name="connsiteY95" fmla="*/ 658158 h 674476"/>
                <a:gd name="connsiteX96" fmla="*/ 40795 w 494979"/>
                <a:gd name="connsiteY96" fmla="*/ 658158 h 674476"/>
                <a:gd name="connsiteX97" fmla="*/ 16318 w 494979"/>
                <a:gd name="connsiteY97" fmla="*/ 652718 h 674476"/>
                <a:gd name="connsiteX98" fmla="*/ 0 w 494979"/>
                <a:gd name="connsiteY98" fmla="*/ 636401 h 674476"/>
                <a:gd name="connsiteX99" fmla="*/ 2720 w 494979"/>
                <a:gd name="connsiteY99" fmla="*/ 628241 h 674476"/>
                <a:gd name="connsiteX100" fmla="*/ 24477 w 494979"/>
                <a:gd name="connsiteY100" fmla="*/ 620082 h 674476"/>
                <a:gd name="connsiteX101" fmla="*/ 62552 w 494979"/>
                <a:gd name="connsiteY101" fmla="*/ 617363 h 674476"/>
                <a:gd name="connsiteX102" fmla="*/ 62552 w 494979"/>
                <a:gd name="connsiteY102" fmla="*/ 614643 h 674476"/>
                <a:gd name="connsiteX103" fmla="*/ 65272 w 494979"/>
                <a:gd name="connsiteY103" fmla="*/ 587447 h 674476"/>
                <a:gd name="connsiteX104" fmla="*/ 76151 w 494979"/>
                <a:gd name="connsiteY104" fmla="*/ 522175 h 674476"/>
                <a:gd name="connsiteX105" fmla="*/ 87029 w 494979"/>
                <a:gd name="connsiteY105" fmla="*/ 470501 h 674476"/>
                <a:gd name="connsiteX106" fmla="*/ 92469 w 494979"/>
                <a:gd name="connsiteY106" fmla="*/ 446025 h 674476"/>
                <a:gd name="connsiteX107" fmla="*/ 65272 w 494979"/>
                <a:gd name="connsiteY107" fmla="*/ 432426 h 674476"/>
                <a:gd name="connsiteX108" fmla="*/ 54393 w 494979"/>
                <a:gd name="connsiteY108" fmla="*/ 421548 h 674476"/>
                <a:gd name="connsiteX109" fmla="*/ 73431 w 494979"/>
                <a:gd name="connsiteY109" fmla="*/ 407949 h 674476"/>
                <a:gd name="connsiteX110" fmla="*/ 100628 w 494979"/>
                <a:gd name="connsiteY110" fmla="*/ 399790 h 674476"/>
                <a:gd name="connsiteX111" fmla="*/ 108787 w 494979"/>
                <a:gd name="connsiteY111" fmla="*/ 369874 h 674476"/>
                <a:gd name="connsiteX112" fmla="*/ 125105 w 494979"/>
                <a:gd name="connsiteY112" fmla="*/ 307322 h 674476"/>
                <a:gd name="connsiteX113" fmla="*/ 141423 w 494979"/>
                <a:gd name="connsiteY113" fmla="*/ 242051 h 674476"/>
                <a:gd name="connsiteX114" fmla="*/ 155021 w 494979"/>
                <a:gd name="connsiteY114" fmla="*/ 179498 h 674476"/>
                <a:gd name="connsiteX115" fmla="*/ 168620 w 494979"/>
                <a:gd name="connsiteY115" fmla="*/ 119665 h 674476"/>
                <a:gd name="connsiteX116" fmla="*/ 193097 w 494979"/>
                <a:gd name="connsiteY116" fmla="*/ 57113 h 674476"/>
                <a:gd name="connsiteX117" fmla="*/ 201256 w 494979"/>
                <a:gd name="connsiteY117" fmla="*/ 38075 h 674476"/>
                <a:gd name="connsiteX118" fmla="*/ 217574 w 494979"/>
                <a:gd name="connsiteY118" fmla="*/ 13598 h 674476"/>
                <a:gd name="connsiteX119" fmla="*/ 274687 w 494979"/>
                <a:gd name="connsiteY119" fmla="*/ 0 h 674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94979" h="674476">
                  <a:moveTo>
                    <a:pt x="228453" y="97907"/>
                  </a:moveTo>
                  <a:cubicBezTo>
                    <a:pt x="220294" y="97907"/>
                    <a:pt x="212135" y="114225"/>
                    <a:pt x="212135" y="119665"/>
                  </a:cubicBezTo>
                  <a:cubicBezTo>
                    <a:pt x="209415" y="130543"/>
                    <a:pt x="206696" y="144141"/>
                    <a:pt x="203976" y="152300"/>
                  </a:cubicBezTo>
                  <a:cubicBezTo>
                    <a:pt x="201256" y="157740"/>
                    <a:pt x="201256" y="163179"/>
                    <a:pt x="201256" y="168618"/>
                  </a:cubicBezTo>
                  <a:cubicBezTo>
                    <a:pt x="201256" y="174058"/>
                    <a:pt x="198537" y="179497"/>
                    <a:pt x="198537" y="184936"/>
                  </a:cubicBezTo>
                  <a:cubicBezTo>
                    <a:pt x="195817" y="195815"/>
                    <a:pt x="193097" y="209413"/>
                    <a:pt x="190378" y="220292"/>
                  </a:cubicBezTo>
                  <a:cubicBezTo>
                    <a:pt x="187658" y="244769"/>
                    <a:pt x="179499" y="269246"/>
                    <a:pt x="171340" y="291003"/>
                  </a:cubicBezTo>
                  <a:cubicBezTo>
                    <a:pt x="168620" y="301881"/>
                    <a:pt x="165900" y="312760"/>
                    <a:pt x="163180" y="323639"/>
                  </a:cubicBezTo>
                  <a:cubicBezTo>
                    <a:pt x="160461" y="337237"/>
                    <a:pt x="157741" y="348115"/>
                    <a:pt x="152302" y="361714"/>
                  </a:cubicBezTo>
                  <a:cubicBezTo>
                    <a:pt x="149582" y="367153"/>
                    <a:pt x="146862" y="383471"/>
                    <a:pt x="146862" y="388910"/>
                  </a:cubicBezTo>
                  <a:cubicBezTo>
                    <a:pt x="146862" y="391630"/>
                    <a:pt x="149582" y="391630"/>
                    <a:pt x="152302" y="391630"/>
                  </a:cubicBezTo>
                  <a:cubicBezTo>
                    <a:pt x="157741" y="391630"/>
                    <a:pt x="171340" y="391630"/>
                    <a:pt x="174060" y="391630"/>
                  </a:cubicBezTo>
                  <a:cubicBezTo>
                    <a:pt x="182219" y="391630"/>
                    <a:pt x="190378" y="391630"/>
                    <a:pt x="195817" y="388910"/>
                  </a:cubicBezTo>
                  <a:cubicBezTo>
                    <a:pt x="201256" y="388910"/>
                    <a:pt x="206696" y="388910"/>
                    <a:pt x="214855" y="388910"/>
                  </a:cubicBezTo>
                  <a:cubicBezTo>
                    <a:pt x="220294" y="388910"/>
                    <a:pt x="228453" y="388910"/>
                    <a:pt x="239332" y="388910"/>
                  </a:cubicBezTo>
                  <a:cubicBezTo>
                    <a:pt x="244771" y="388910"/>
                    <a:pt x="250210" y="388910"/>
                    <a:pt x="252930" y="386191"/>
                  </a:cubicBezTo>
                  <a:cubicBezTo>
                    <a:pt x="258369" y="391630"/>
                    <a:pt x="261089" y="388910"/>
                    <a:pt x="261089" y="386191"/>
                  </a:cubicBezTo>
                  <a:cubicBezTo>
                    <a:pt x="261089" y="380751"/>
                    <a:pt x="258369" y="372592"/>
                    <a:pt x="258369" y="367153"/>
                  </a:cubicBezTo>
                  <a:cubicBezTo>
                    <a:pt x="255650" y="353555"/>
                    <a:pt x="252930" y="342676"/>
                    <a:pt x="252930" y="331797"/>
                  </a:cubicBezTo>
                  <a:cubicBezTo>
                    <a:pt x="252930" y="301881"/>
                    <a:pt x="252930" y="274685"/>
                    <a:pt x="250210" y="244769"/>
                  </a:cubicBezTo>
                  <a:cubicBezTo>
                    <a:pt x="250210" y="231170"/>
                    <a:pt x="247491" y="217572"/>
                    <a:pt x="244771" y="203974"/>
                  </a:cubicBezTo>
                  <a:cubicBezTo>
                    <a:pt x="242051" y="187656"/>
                    <a:pt x="239332" y="174058"/>
                    <a:pt x="239332" y="157740"/>
                  </a:cubicBezTo>
                  <a:cubicBezTo>
                    <a:pt x="239332" y="152300"/>
                    <a:pt x="239332" y="133263"/>
                    <a:pt x="236612" y="119665"/>
                  </a:cubicBezTo>
                  <a:cubicBezTo>
                    <a:pt x="236612" y="106066"/>
                    <a:pt x="233892" y="97907"/>
                    <a:pt x="228453" y="97907"/>
                  </a:cubicBezTo>
                  <a:close/>
                  <a:moveTo>
                    <a:pt x="274687" y="0"/>
                  </a:moveTo>
                  <a:cubicBezTo>
                    <a:pt x="288285" y="0"/>
                    <a:pt x="293724" y="2720"/>
                    <a:pt x="304603" y="5439"/>
                  </a:cubicBezTo>
                  <a:cubicBezTo>
                    <a:pt x="315482" y="10879"/>
                    <a:pt x="315482" y="16318"/>
                    <a:pt x="320921" y="24477"/>
                  </a:cubicBezTo>
                  <a:cubicBezTo>
                    <a:pt x="326360" y="29916"/>
                    <a:pt x="331800" y="35356"/>
                    <a:pt x="334519" y="43515"/>
                  </a:cubicBezTo>
                  <a:cubicBezTo>
                    <a:pt x="337239" y="51674"/>
                    <a:pt x="337239" y="57113"/>
                    <a:pt x="339959" y="65272"/>
                  </a:cubicBezTo>
                  <a:cubicBezTo>
                    <a:pt x="345398" y="78870"/>
                    <a:pt x="342678" y="97908"/>
                    <a:pt x="348118" y="114226"/>
                  </a:cubicBezTo>
                  <a:cubicBezTo>
                    <a:pt x="350837" y="130544"/>
                    <a:pt x="358996" y="146863"/>
                    <a:pt x="361716" y="163180"/>
                  </a:cubicBezTo>
                  <a:cubicBezTo>
                    <a:pt x="364435" y="182218"/>
                    <a:pt x="364435" y="201256"/>
                    <a:pt x="369875" y="220293"/>
                  </a:cubicBezTo>
                  <a:cubicBezTo>
                    <a:pt x="375314" y="239331"/>
                    <a:pt x="378034" y="255649"/>
                    <a:pt x="378034" y="274686"/>
                  </a:cubicBezTo>
                  <a:cubicBezTo>
                    <a:pt x="378034" y="282845"/>
                    <a:pt x="380753" y="293724"/>
                    <a:pt x="383473" y="301883"/>
                  </a:cubicBezTo>
                  <a:cubicBezTo>
                    <a:pt x="386193" y="312762"/>
                    <a:pt x="388912" y="326360"/>
                    <a:pt x="391632" y="337238"/>
                  </a:cubicBezTo>
                  <a:cubicBezTo>
                    <a:pt x="391632" y="342678"/>
                    <a:pt x="394352" y="353556"/>
                    <a:pt x="397071" y="364435"/>
                  </a:cubicBezTo>
                  <a:cubicBezTo>
                    <a:pt x="399791" y="372594"/>
                    <a:pt x="402511" y="380753"/>
                    <a:pt x="405230" y="383473"/>
                  </a:cubicBezTo>
                  <a:cubicBezTo>
                    <a:pt x="407950" y="386192"/>
                    <a:pt x="413389" y="386192"/>
                    <a:pt x="416109" y="386192"/>
                  </a:cubicBezTo>
                  <a:cubicBezTo>
                    <a:pt x="418829" y="386192"/>
                    <a:pt x="424268" y="386192"/>
                    <a:pt x="426988" y="386192"/>
                  </a:cubicBezTo>
                  <a:cubicBezTo>
                    <a:pt x="437866" y="386192"/>
                    <a:pt x="448745" y="388912"/>
                    <a:pt x="454184" y="397071"/>
                  </a:cubicBezTo>
                  <a:cubicBezTo>
                    <a:pt x="456904" y="399790"/>
                    <a:pt x="456904" y="402510"/>
                    <a:pt x="456904" y="405230"/>
                  </a:cubicBezTo>
                  <a:cubicBezTo>
                    <a:pt x="456904" y="407949"/>
                    <a:pt x="454184" y="410669"/>
                    <a:pt x="451465" y="416108"/>
                  </a:cubicBezTo>
                  <a:cubicBezTo>
                    <a:pt x="446025" y="421548"/>
                    <a:pt x="440586" y="426987"/>
                    <a:pt x="432427" y="429707"/>
                  </a:cubicBezTo>
                  <a:cubicBezTo>
                    <a:pt x="429707" y="429707"/>
                    <a:pt x="426988" y="432426"/>
                    <a:pt x="421548" y="432426"/>
                  </a:cubicBezTo>
                  <a:cubicBezTo>
                    <a:pt x="418829" y="432426"/>
                    <a:pt x="416109" y="432426"/>
                    <a:pt x="413389" y="435146"/>
                  </a:cubicBezTo>
                  <a:cubicBezTo>
                    <a:pt x="413389" y="435146"/>
                    <a:pt x="413389" y="437866"/>
                    <a:pt x="413389" y="440585"/>
                  </a:cubicBezTo>
                  <a:cubicBezTo>
                    <a:pt x="413389" y="443305"/>
                    <a:pt x="413389" y="448744"/>
                    <a:pt x="416109" y="451464"/>
                  </a:cubicBezTo>
                  <a:cubicBezTo>
                    <a:pt x="416109" y="456903"/>
                    <a:pt x="418829" y="462343"/>
                    <a:pt x="418829" y="465062"/>
                  </a:cubicBezTo>
                  <a:lnTo>
                    <a:pt x="418829" y="475941"/>
                  </a:lnTo>
                  <a:cubicBezTo>
                    <a:pt x="418829" y="481380"/>
                    <a:pt x="418829" y="484100"/>
                    <a:pt x="418829" y="486820"/>
                  </a:cubicBezTo>
                  <a:cubicBezTo>
                    <a:pt x="421548" y="497698"/>
                    <a:pt x="424268" y="505857"/>
                    <a:pt x="426988" y="516736"/>
                  </a:cubicBezTo>
                  <a:cubicBezTo>
                    <a:pt x="426988" y="524895"/>
                    <a:pt x="429707" y="535773"/>
                    <a:pt x="432427" y="543932"/>
                  </a:cubicBezTo>
                  <a:cubicBezTo>
                    <a:pt x="435147" y="554811"/>
                    <a:pt x="437866" y="562970"/>
                    <a:pt x="437866" y="573848"/>
                  </a:cubicBezTo>
                  <a:cubicBezTo>
                    <a:pt x="437866" y="587447"/>
                    <a:pt x="440586" y="595606"/>
                    <a:pt x="443306" y="606484"/>
                  </a:cubicBezTo>
                  <a:cubicBezTo>
                    <a:pt x="443306" y="609204"/>
                    <a:pt x="446025" y="614643"/>
                    <a:pt x="446025" y="617363"/>
                  </a:cubicBezTo>
                  <a:cubicBezTo>
                    <a:pt x="454184" y="617363"/>
                    <a:pt x="462343" y="617363"/>
                    <a:pt x="470502" y="617363"/>
                  </a:cubicBezTo>
                  <a:cubicBezTo>
                    <a:pt x="478661" y="625522"/>
                    <a:pt x="492259" y="630961"/>
                    <a:pt x="494979" y="641840"/>
                  </a:cubicBezTo>
                  <a:cubicBezTo>
                    <a:pt x="494979" y="647279"/>
                    <a:pt x="489540" y="649999"/>
                    <a:pt x="486820" y="655438"/>
                  </a:cubicBezTo>
                  <a:cubicBezTo>
                    <a:pt x="484100" y="660877"/>
                    <a:pt x="475942" y="663597"/>
                    <a:pt x="470502" y="663597"/>
                  </a:cubicBezTo>
                  <a:cubicBezTo>
                    <a:pt x="459623" y="666317"/>
                    <a:pt x="454184" y="666317"/>
                    <a:pt x="446025" y="666317"/>
                  </a:cubicBezTo>
                  <a:cubicBezTo>
                    <a:pt x="440586" y="666317"/>
                    <a:pt x="432427" y="666317"/>
                    <a:pt x="424268" y="666317"/>
                  </a:cubicBezTo>
                  <a:cubicBezTo>
                    <a:pt x="421548" y="666317"/>
                    <a:pt x="418829" y="666317"/>
                    <a:pt x="416109" y="666317"/>
                  </a:cubicBezTo>
                  <a:cubicBezTo>
                    <a:pt x="410670" y="669036"/>
                    <a:pt x="407950" y="669036"/>
                    <a:pt x="402511" y="671756"/>
                  </a:cubicBezTo>
                  <a:cubicBezTo>
                    <a:pt x="397071" y="671756"/>
                    <a:pt x="391632" y="674476"/>
                    <a:pt x="386193" y="674476"/>
                  </a:cubicBezTo>
                  <a:cubicBezTo>
                    <a:pt x="375314" y="674476"/>
                    <a:pt x="361716" y="671756"/>
                    <a:pt x="350837" y="669036"/>
                  </a:cubicBezTo>
                  <a:cubicBezTo>
                    <a:pt x="342678" y="669036"/>
                    <a:pt x="334519" y="669036"/>
                    <a:pt x="329080" y="669036"/>
                  </a:cubicBezTo>
                  <a:cubicBezTo>
                    <a:pt x="307323" y="669036"/>
                    <a:pt x="288285" y="669036"/>
                    <a:pt x="280126" y="669036"/>
                  </a:cubicBezTo>
                  <a:cubicBezTo>
                    <a:pt x="271967" y="669036"/>
                    <a:pt x="261088" y="669036"/>
                    <a:pt x="255649" y="663597"/>
                  </a:cubicBezTo>
                  <a:cubicBezTo>
                    <a:pt x="250210" y="660877"/>
                    <a:pt x="239331" y="655438"/>
                    <a:pt x="239331" y="647279"/>
                  </a:cubicBezTo>
                  <a:cubicBezTo>
                    <a:pt x="239331" y="636401"/>
                    <a:pt x="255649" y="633681"/>
                    <a:pt x="263808" y="630961"/>
                  </a:cubicBezTo>
                  <a:cubicBezTo>
                    <a:pt x="269247" y="630961"/>
                    <a:pt x="277406" y="630961"/>
                    <a:pt x="291005" y="628241"/>
                  </a:cubicBezTo>
                  <a:cubicBezTo>
                    <a:pt x="291005" y="620082"/>
                    <a:pt x="291005" y="614643"/>
                    <a:pt x="288285" y="609204"/>
                  </a:cubicBezTo>
                  <a:cubicBezTo>
                    <a:pt x="288285" y="601045"/>
                    <a:pt x="285565" y="590166"/>
                    <a:pt x="285565" y="582007"/>
                  </a:cubicBezTo>
                  <a:cubicBezTo>
                    <a:pt x="285565" y="576568"/>
                    <a:pt x="282846" y="573848"/>
                    <a:pt x="282846" y="568409"/>
                  </a:cubicBezTo>
                  <a:cubicBezTo>
                    <a:pt x="282846" y="562970"/>
                    <a:pt x="285565" y="557531"/>
                    <a:pt x="285565" y="554811"/>
                  </a:cubicBezTo>
                  <a:cubicBezTo>
                    <a:pt x="285565" y="549371"/>
                    <a:pt x="282846" y="546652"/>
                    <a:pt x="280126" y="538493"/>
                  </a:cubicBezTo>
                  <a:cubicBezTo>
                    <a:pt x="280126" y="527614"/>
                    <a:pt x="274687" y="516736"/>
                    <a:pt x="274687" y="505857"/>
                  </a:cubicBezTo>
                  <a:cubicBezTo>
                    <a:pt x="274687" y="494978"/>
                    <a:pt x="274687" y="486820"/>
                    <a:pt x="271967" y="478660"/>
                  </a:cubicBezTo>
                  <a:cubicBezTo>
                    <a:pt x="269247" y="467782"/>
                    <a:pt x="269247" y="456903"/>
                    <a:pt x="269247" y="446025"/>
                  </a:cubicBezTo>
                  <a:cubicBezTo>
                    <a:pt x="269247" y="440585"/>
                    <a:pt x="266528" y="437866"/>
                    <a:pt x="263808" y="437866"/>
                  </a:cubicBezTo>
                  <a:cubicBezTo>
                    <a:pt x="261088" y="437866"/>
                    <a:pt x="258369" y="437866"/>
                    <a:pt x="252929" y="437866"/>
                  </a:cubicBezTo>
                  <a:cubicBezTo>
                    <a:pt x="242051" y="437866"/>
                    <a:pt x="231172" y="437866"/>
                    <a:pt x="223013" y="440585"/>
                  </a:cubicBezTo>
                  <a:cubicBezTo>
                    <a:pt x="212135" y="440585"/>
                    <a:pt x="203976" y="443305"/>
                    <a:pt x="193097" y="443305"/>
                  </a:cubicBezTo>
                  <a:cubicBezTo>
                    <a:pt x="184938" y="443305"/>
                    <a:pt x="176779" y="443305"/>
                    <a:pt x="168620" y="443305"/>
                  </a:cubicBezTo>
                  <a:cubicBezTo>
                    <a:pt x="165900" y="443305"/>
                    <a:pt x="155021" y="440585"/>
                    <a:pt x="146862" y="440585"/>
                  </a:cubicBezTo>
                  <a:cubicBezTo>
                    <a:pt x="138703" y="440585"/>
                    <a:pt x="138703" y="448744"/>
                    <a:pt x="138703" y="454184"/>
                  </a:cubicBezTo>
                  <a:cubicBezTo>
                    <a:pt x="138703" y="465062"/>
                    <a:pt x="135983" y="475941"/>
                    <a:pt x="133263" y="486820"/>
                  </a:cubicBezTo>
                  <a:cubicBezTo>
                    <a:pt x="130544" y="505857"/>
                    <a:pt x="125105" y="522175"/>
                    <a:pt x="122385" y="541213"/>
                  </a:cubicBezTo>
                  <a:cubicBezTo>
                    <a:pt x="119665" y="560250"/>
                    <a:pt x="111506" y="595606"/>
                    <a:pt x="106067" y="614643"/>
                  </a:cubicBezTo>
                  <a:cubicBezTo>
                    <a:pt x="114226" y="614643"/>
                    <a:pt x="125105" y="614643"/>
                    <a:pt x="135983" y="614643"/>
                  </a:cubicBezTo>
                  <a:cubicBezTo>
                    <a:pt x="149581" y="614643"/>
                    <a:pt x="171340" y="614643"/>
                    <a:pt x="171340" y="630961"/>
                  </a:cubicBezTo>
                  <a:cubicBezTo>
                    <a:pt x="171340" y="639120"/>
                    <a:pt x="168620" y="639120"/>
                    <a:pt x="165900" y="647279"/>
                  </a:cubicBezTo>
                  <a:cubicBezTo>
                    <a:pt x="163181" y="652718"/>
                    <a:pt x="155021" y="655438"/>
                    <a:pt x="149581" y="655438"/>
                  </a:cubicBezTo>
                  <a:cubicBezTo>
                    <a:pt x="141423" y="658158"/>
                    <a:pt x="135983" y="658158"/>
                    <a:pt x="127824" y="658158"/>
                  </a:cubicBezTo>
                  <a:cubicBezTo>
                    <a:pt x="122385" y="658158"/>
                    <a:pt x="116946" y="658158"/>
                    <a:pt x="106067" y="658158"/>
                  </a:cubicBezTo>
                  <a:cubicBezTo>
                    <a:pt x="92469" y="658158"/>
                    <a:pt x="78870" y="658158"/>
                    <a:pt x="62552" y="658158"/>
                  </a:cubicBezTo>
                  <a:cubicBezTo>
                    <a:pt x="54393" y="658158"/>
                    <a:pt x="46234" y="658158"/>
                    <a:pt x="40795" y="658158"/>
                  </a:cubicBezTo>
                  <a:cubicBezTo>
                    <a:pt x="32636" y="658158"/>
                    <a:pt x="21758" y="658158"/>
                    <a:pt x="16318" y="652718"/>
                  </a:cubicBezTo>
                  <a:cubicBezTo>
                    <a:pt x="8159" y="649999"/>
                    <a:pt x="0" y="641840"/>
                    <a:pt x="0" y="636401"/>
                  </a:cubicBezTo>
                  <a:cubicBezTo>
                    <a:pt x="0" y="633681"/>
                    <a:pt x="0" y="630961"/>
                    <a:pt x="2720" y="628241"/>
                  </a:cubicBezTo>
                  <a:cubicBezTo>
                    <a:pt x="8159" y="625522"/>
                    <a:pt x="16318" y="622802"/>
                    <a:pt x="24477" y="620082"/>
                  </a:cubicBezTo>
                  <a:cubicBezTo>
                    <a:pt x="38075" y="617363"/>
                    <a:pt x="48954" y="617363"/>
                    <a:pt x="62552" y="617363"/>
                  </a:cubicBezTo>
                  <a:cubicBezTo>
                    <a:pt x="62552" y="617363"/>
                    <a:pt x="62552" y="614643"/>
                    <a:pt x="62552" y="614643"/>
                  </a:cubicBezTo>
                  <a:cubicBezTo>
                    <a:pt x="62552" y="603765"/>
                    <a:pt x="65272" y="590166"/>
                    <a:pt x="65272" y="587447"/>
                  </a:cubicBezTo>
                  <a:cubicBezTo>
                    <a:pt x="67992" y="565689"/>
                    <a:pt x="73431" y="543932"/>
                    <a:pt x="76151" y="522175"/>
                  </a:cubicBezTo>
                  <a:cubicBezTo>
                    <a:pt x="78870" y="505857"/>
                    <a:pt x="81590" y="486820"/>
                    <a:pt x="87029" y="470501"/>
                  </a:cubicBezTo>
                  <a:cubicBezTo>
                    <a:pt x="87029" y="465062"/>
                    <a:pt x="92469" y="451464"/>
                    <a:pt x="92469" y="446025"/>
                  </a:cubicBezTo>
                  <a:cubicBezTo>
                    <a:pt x="92469" y="437866"/>
                    <a:pt x="73431" y="437866"/>
                    <a:pt x="65272" y="432426"/>
                  </a:cubicBezTo>
                  <a:cubicBezTo>
                    <a:pt x="59833" y="429707"/>
                    <a:pt x="54393" y="426987"/>
                    <a:pt x="54393" y="421548"/>
                  </a:cubicBezTo>
                  <a:cubicBezTo>
                    <a:pt x="54393" y="413389"/>
                    <a:pt x="62552" y="410669"/>
                    <a:pt x="73431" y="407949"/>
                  </a:cubicBezTo>
                  <a:cubicBezTo>
                    <a:pt x="78870" y="407949"/>
                    <a:pt x="92469" y="405230"/>
                    <a:pt x="100628" y="399790"/>
                  </a:cubicBezTo>
                  <a:cubicBezTo>
                    <a:pt x="106067" y="394351"/>
                    <a:pt x="106067" y="378033"/>
                    <a:pt x="108787" y="369874"/>
                  </a:cubicBezTo>
                  <a:cubicBezTo>
                    <a:pt x="114226" y="348117"/>
                    <a:pt x="119665" y="326360"/>
                    <a:pt x="125105" y="307322"/>
                  </a:cubicBezTo>
                  <a:cubicBezTo>
                    <a:pt x="130544" y="285565"/>
                    <a:pt x="135983" y="263808"/>
                    <a:pt x="141423" y="242051"/>
                  </a:cubicBezTo>
                  <a:cubicBezTo>
                    <a:pt x="146862" y="220293"/>
                    <a:pt x="152301" y="198536"/>
                    <a:pt x="155021" y="179498"/>
                  </a:cubicBezTo>
                  <a:cubicBezTo>
                    <a:pt x="157740" y="160461"/>
                    <a:pt x="163181" y="138703"/>
                    <a:pt x="168620" y="119665"/>
                  </a:cubicBezTo>
                  <a:cubicBezTo>
                    <a:pt x="176779" y="100627"/>
                    <a:pt x="182218" y="76150"/>
                    <a:pt x="193097" y="57113"/>
                  </a:cubicBezTo>
                  <a:lnTo>
                    <a:pt x="201256" y="38075"/>
                  </a:lnTo>
                  <a:cubicBezTo>
                    <a:pt x="206695" y="29916"/>
                    <a:pt x="209415" y="19038"/>
                    <a:pt x="217574" y="13598"/>
                  </a:cubicBezTo>
                  <a:cubicBezTo>
                    <a:pt x="231172" y="2720"/>
                    <a:pt x="255649" y="0"/>
                    <a:pt x="274687" y="0"/>
                  </a:cubicBezTo>
                  <a:close/>
                </a:path>
              </a:pathLst>
            </a:custGeom>
            <a:grpFill/>
            <a:ln w="27168"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D3F600A0-5E31-48F0-A966-B5DF6A1C105E}"/>
                </a:ext>
              </a:extLst>
            </p:cNvPr>
            <p:cNvSpPr/>
            <p:nvPr/>
          </p:nvSpPr>
          <p:spPr>
            <a:xfrm>
              <a:off x="3443268" y="4186718"/>
              <a:ext cx="435145" cy="761503"/>
            </a:xfrm>
            <a:custGeom>
              <a:avLst/>
              <a:gdLst>
                <a:gd name="connsiteX0" fmla="*/ 400855 w 435145"/>
                <a:gd name="connsiteY0" fmla="*/ 678260 h 761503"/>
                <a:gd name="connsiteX1" fmla="*/ 384537 w 435145"/>
                <a:gd name="connsiteY1" fmla="*/ 719054 h 761503"/>
                <a:gd name="connsiteX2" fmla="*/ 368219 w 435145"/>
                <a:gd name="connsiteY2" fmla="*/ 713615 h 761503"/>
                <a:gd name="connsiteX3" fmla="*/ 360060 w 435145"/>
                <a:gd name="connsiteY3" fmla="*/ 697297 h 761503"/>
                <a:gd name="connsiteX4" fmla="*/ 360060 w 435145"/>
                <a:gd name="connsiteY4" fmla="*/ 651063 h 761503"/>
                <a:gd name="connsiteX5" fmla="*/ 332864 w 435145"/>
                <a:gd name="connsiteY5" fmla="*/ 686418 h 761503"/>
                <a:gd name="connsiteX6" fmla="*/ 251274 w 435145"/>
                <a:gd name="connsiteY6" fmla="*/ 721774 h 761503"/>
                <a:gd name="connsiteX7" fmla="*/ 229517 w 435145"/>
                <a:gd name="connsiteY7" fmla="*/ 719054 h 761503"/>
                <a:gd name="connsiteX8" fmla="*/ 158806 w 435145"/>
                <a:gd name="connsiteY8" fmla="*/ 694578 h 761503"/>
                <a:gd name="connsiteX9" fmla="*/ 112571 w 435145"/>
                <a:gd name="connsiteY9" fmla="*/ 659222 h 761503"/>
                <a:gd name="connsiteX10" fmla="*/ 79936 w 435145"/>
                <a:gd name="connsiteY10" fmla="*/ 607548 h 761503"/>
                <a:gd name="connsiteX11" fmla="*/ 63618 w 435145"/>
                <a:gd name="connsiteY11" fmla="*/ 542277 h 761503"/>
                <a:gd name="connsiteX12" fmla="*/ 58178 w 435145"/>
                <a:gd name="connsiteY12" fmla="*/ 471566 h 761503"/>
                <a:gd name="connsiteX13" fmla="*/ 60898 w 435145"/>
                <a:gd name="connsiteY13" fmla="*/ 400855 h 761503"/>
                <a:gd name="connsiteX14" fmla="*/ 66337 w 435145"/>
                <a:gd name="connsiteY14" fmla="*/ 335583 h 761503"/>
                <a:gd name="connsiteX15" fmla="*/ 85375 w 435145"/>
                <a:gd name="connsiteY15" fmla="*/ 267592 h 761503"/>
                <a:gd name="connsiteX16" fmla="*/ 109852 w 435145"/>
                <a:gd name="connsiteY16" fmla="*/ 199600 h 761503"/>
                <a:gd name="connsiteX17" fmla="*/ 145207 w 435145"/>
                <a:gd name="connsiteY17" fmla="*/ 145207 h 761503"/>
                <a:gd name="connsiteX18" fmla="*/ 188722 w 435145"/>
                <a:gd name="connsiteY18" fmla="*/ 96253 h 761503"/>
                <a:gd name="connsiteX19" fmla="*/ 243115 w 435145"/>
                <a:gd name="connsiteY19" fmla="*/ 71776 h 761503"/>
                <a:gd name="connsiteX20" fmla="*/ 286630 w 435145"/>
                <a:gd name="connsiteY20" fmla="*/ 63617 h 761503"/>
                <a:gd name="connsiteX21" fmla="*/ 305667 w 435145"/>
                <a:gd name="connsiteY21" fmla="*/ 66337 h 761503"/>
                <a:gd name="connsiteX22" fmla="*/ 324705 w 435145"/>
                <a:gd name="connsiteY22" fmla="*/ 79936 h 761503"/>
                <a:gd name="connsiteX23" fmla="*/ 341023 w 435145"/>
                <a:gd name="connsiteY23" fmla="*/ 101693 h 761503"/>
                <a:gd name="connsiteX24" fmla="*/ 354621 w 435145"/>
                <a:gd name="connsiteY24" fmla="*/ 123450 h 761503"/>
                <a:gd name="connsiteX25" fmla="*/ 354621 w 435145"/>
                <a:gd name="connsiteY25" fmla="*/ 98973 h 761503"/>
                <a:gd name="connsiteX26" fmla="*/ 360060 w 435145"/>
                <a:gd name="connsiteY26" fmla="*/ 74496 h 761503"/>
                <a:gd name="connsiteX27" fmla="*/ 365500 w 435145"/>
                <a:gd name="connsiteY27" fmla="*/ 63617 h 761503"/>
                <a:gd name="connsiteX28" fmla="*/ 373659 w 435145"/>
                <a:gd name="connsiteY28" fmla="*/ 58178 h 761503"/>
                <a:gd name="connsiteX29" fmla="*/ 381818 w 435145"/>
                <a:gd name="connsiteY29" fmla="*/ 63617 h 761503"/>
                <a:gd name="connsiteX30" fmla="*/ 389977 w 435145"/>
                <a:gd name="connsiteY30" fmla="*/ 82655 h 761503"/>
                <a:gd name="connsiteX31" fmla="*/ 392696 w 435145"/>
                <a:gd name="connsiteY31" fmla="*/ 126170 h 761503"/>
                <a:gd name="connsiteX32" fmla="*/ 395416 w 435145"/>
                <a:gd name="connsiteY32" fmla="*/ 186002 h 761503"/>
                <a:gd name="connsiteX33" fmla="*/ 398136 w 435145"/>
                <a:gd name="connsiteY33" fmla="*/ 237675 h 761503"/>
                <a:gd name="connsiteX34" fmla="*/ 398136 w 435145"/>
                <a:gd name="connsiteY34" fmla="*/ 243115 h 761503"/>
                <a:gd name="connsiteX35" fmla="*/ 395416 w 435145"/>
                <a:gd name="connsiteY35" fmla="*/ 256713 h 761503"/>
                <a:gd name="connsiteX36" fmla="*/ 379098 w 435145"/>
                <a:gd name="connsiteY36" fmla="*/ 278470 h 761503"/>
                <a:gd name="connsiteX37" fmla="*/ 362780 w 435145"/>
                <a:gd name="connsiteY37" fmla="*/ 273031 h 761503"/>
                <a:gd name="connsiteX38" fmla="*/ 354621 w 435145"/>
                <a:gd name="connsiteY38" fmla="*/ 256713 h 761503"/>
                <a:gd name="connsiteX39" fmla="*/ 354621 w 435145"/>
                <a:gd name="connsiteY39" fmla="*/ 213198 h 761503"/>
                <a:gd name="connsiteX40" fmla="*/ 354621 w 435145"/>
                <a:gd name="connsiteY40" fmla="*/ 205040 h 761503"/>
                <a:gd name="connsiteX41" fmla="*/ 338303 w 435145"/>
                <a:gd name="connsiteY41" fmla="*/ 147927 h 761503"/>
                <a:gd name="connsiteX42" fmla="*/ 292069 w 435145"/>
                <a:gd name="connsiteY42" fmla="*/ 107132 h 761503"/>
                <a:gd name="connsiteX43" fmla="*/ 262153 w 435145"/>
                <a:gd name="connsiteY43" fmla="*/ 120730 h 761503"/>
                <a:gd name="connsiteX44" fmla="*/ 251274 w 435145"/>
                <a:gd name="connsiteY44" fmla="*/ 131609 h 761503"/>
                <a:gd name="connsiteX45" fmla="*/ 240395 w 435145"/>
                <a:gd name="connsiteY45" fmla="*/ 139768 h 761503"/>
                <a:gd name="connsiteX46" fmla="*/ 237676 w 435145"/>
                <a:gd name="connsiteY46" fmla="*/ 164245 h 761503"/>
                <a:gd name="connsiteX47" fmla="*/ 226797 w 435145"/>
                <a:gd name="connsiteY47" fmla="*/ 196881 h 761503"/>
                <a:gd name="connsiteX48" fmla="*/ 213199 w 435145"/>
                <a:gd name="connsiteY48" fmla="*/ 259433 h 761503"/>
                <a:gd name="connsiteX49" fmla="*/ 207759 w 435145"/>
                <a:gd name="connsiteY49" fmla="*/ 324704 h 761503"/>
                <a:gd name="connsiteX50" fmla="*/ 207759 w 435145"/>
                <a:gd name="connsiteY50" fmla="*/ 335583 h 761503"/>
                <a:gd name="connsiteX51" fmla="*/ 205040 w 435145"/>
                <a:gd name="connsiteY51" fmla="*/ 349181 h 761503"/>
                <a:gd name="connsiteX52" fmla="*/ 207759 w 435145"/>
                <a:gd name="connsiteY52" fmla="*/ 368219 h 761503"/>
                <a:gd name="connsiteX53" fmla="*/ 207759 w 435145"/>
                <a:gd name="connsiteY53" fmla="*/ 376378 h 761503"/>
                <a:gd name="connsiteX54" fmla="*/ 205040 w 435145"/>
                <a:gd name="connsiteY54" fmla="*/ 387256 h 761503"/>
                <a:gd name="connsiteX55" fmla="*/ 205040 w 435145"/>
                <a:gd name="connsiteY55" fmla="*/ 395415 h 761503"/>
                <a:gd name="connsiteX56" fmla="*/ 205040 w 435145"/>
                <a:gd name="connsiteY56" fmla="*/ 406294 h 761503"/>
                <a:gd name="connsiteX57" fmla="*/ 205040 w 435145"/>
                <a:gd name="connsiteY57" fmla="*/ 425332 h 761503"/>
                <a:gd name="connsiteX58" fmla="*/ 213199 w 435145"/>
                <a:gd name="connsiteY58" fmla="*/ 493323 h 761503"/>
                <a:gd name="connsiteX59" fmla="*/ 221358 w 435145"/>
                <a:gd name="connsiteY59" fmla="*/ 561314 h 761503"/>
                <a:gd name="connsiteX60" fmla="*/ 226797 w 435145"/>
                <a:gd name="connsiteY60" fmla="*/ 591231 h 761503"/>
                <a:gd name="connsiteX61" fmla="*/ 240395 w 435145"/>
                <a:gd name="connsiteY61" fmla="*/ 618427 h 761503"/>
                <a:gd name="connsiteX62" fmla="*/ 283910 w 435145"/>
                <a:gd name="connsiteY62" fmla="*/ 651063 h 761503"/>
                <a:gd name="connsiteX63" fmla="*/ 338303 w 435145"/>
                <a:gd name="connsiteY63" fmla="*/ 612988 h 761503"/>
                <a:gd name="connsiteX64" fmla="*/ 354621 w 435145"/>
                <a:gd name="connsiteY64" fmla="*/ 577632 h 761503"/>
                <a:gd name="connsiteX65" fmla="*/ 357341 w 435145"/>
                <a:gd name="connsiteY65" fmla="*/ 509641 h 761503"/>
                <a:gd name="connsiteX66" fmla="*/ 362780 w 435145"/>
                <a:gd name="connsiteY66" fmla="*/ 485164 h 761503"/>
                <a:gd name="connsiteX67" fmla="*/ 368219 w 435145"/>
                <a:gd name="connsiteY67" fmla="*/ 474286 h 761503"/>
                <a:gd name="connsiteX68" fmla="*/ 376378 w 435145"/>
                <a:gd name="connsiteY68" fmla="*/ 468846 h 761503"/>
                <a:gd name="connsiteX69" fmla="*/ 384537 w 435145"/>
                <a:gd name="connsiteY69" fmla="*/ 474286 h 761503"/>
                <a:gd name="connsiteX70" fmla="*/ 392696 w 435145"/>
                <a:gd name="connsiteY70" fmla="*/ 493323 h 761503"/>
                <a:gd name="connsiteX71" fmla="*/ 395416 w 435145"/>
                <a:gd name="connsiteY71" fmla="*/ 558595 h 761503"/>
                <a:gd name="connsiteX72" fmla="*/ 398136 w 435145"/>
                <a:gd name="connsiteY72" fmla="*/ 618427 h 761503"/>
                <a:gd name="connsiteX73" fmla="*/ 400855 w 435145"/>
                <a:gd name="connsiteY73" fmla="*/ 678260 h 76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5145" h="761503">
                  <a:moveTo>
                    <a:pt x="400855" y="678260"/>
                  </a:moveTo>
                  <a:cubicBezTo>
                    <a:pt x="400855" y="689138"/>
                    <a:pt x="400855" y="719054"/>
                    <a:pt x="384537" y="719054"/>
                  </a:cubicBezTo>
                  <a:cubicBezTo>
                    <a:pt x="376378" y="719054"/>
                    <a:pt x="373659" y="716335"/>
                    <a:pt x="368219" y="713615"/>
                  </a:cubicBezTo>
                  <a:cubicBezTo>
                    <a:pt x="362780" y="710895"/>
                    <a:pt x="360060" y="702736"/>
                    <a:pt x="360060" y="697297"/>
                  </a:cubicBezTo>
                  <a:cubicBezTo>
                    <a:pt x="357341" y="680979"/>
                    <a:pt x="357341" y="664661"/>
                    <a:pt x="360060" y="651063"/>
                  </a:cubicBezTo>
                  <a:cubicBezTo>
                    <a:pt x="354621" y="659222"/>
                    <a:pt x="341023" y="678260"/>
                    <a:pt x="332864" y="686418"/>
                  </a:cubicBezTo>
                  <a:cubicBezTo>
                    <a:pt x="311107" y="708176"/>
                    <a:pt x="283910" y="721774"/>
                    <a:pt x="251274" y="721774"/>
                  </a:cubicBezTo>
                  <a:cubicBezTo>
                    <a:pt x="243115" y="721774"/>
                    <a:pt x="237676" y="721774"/>
                    <a:pt x="229517" y="719054"/>
                  </a:cubicBezTo>
                  <a:cubicBezTo>
                    <a:pt x="207759" y="716335"/>
                    <a:pt x="183283" y="708176"/>
                    <a:pt x="158806" y="694578"/>
                  </a:cubicBezTo>
                  <a:cubicBezTo>
                    <a:pt x="142488" y="686418"/>
                    <a:pt x="126170" y="672820"/>
                    <a:pt x="112571" y="659222"/>
                  </a:cubicBezTo>
                  <a:cubicBezTo>
                    <a:pt x="98973" y="642904"/>
                    <a:pt x="88095" y="626586"/>
                    <a:pt x="79936" y="607548"/>
                  </a:cubicBezTo>
                  <a:cubicBezTo>
                    <a:pt x="71777" y="585791"/>
                    <a:pt x="66337" y="566754"/>
                    <a:pt x="63618" y="542277"/>
                  </a:cubicBezTo>
                  <a:cubicBezTo>
                    <a:pt x="60898" y="517800"/>
                    <a:pt x="58178" y="493323"/>
                    <a:pt x="58178" y="471566"/>
                  </a:cubicBezTo>
                  <a:cubicBezTo>
                    <a:pt x="58178" y="447089"/>
                    <a:pt x="58178" y="425332"/>
                    <a:pt x="60898" y="400855"/>
                  </a:cubicBezTo>
                  <a:cubicBezTo>
                    <a:pt x="63618" y="379098"/>
                    <a:pt x="60898" y="357340"/>
                    <a:pt x="66337" y="335583"/>
                  </a:cubicBezTo>
                  <a:cubicBezTo>
                    <a:pt x="69057" y="313826"/>
                    <a:pt x="77216" y="289349"/>
                    <a:pt x="85375" y="267592"/>
                  </a:cubicBezTo>
                  <a:cubicBezTo>
                    <a:pt x="93534" y="243115"/>
                    <a:pt x="98973" y="221357"/>
                    <a:pt x="109852" y="199600"/>
                  </a:cubicBezTo>
                  <a:cubicBezTo>
                    <a:pt x="118011" y="177843"/>
                    <a:pt x="131609" y="161525"/>
                    <a:pt x="145207" y="145207"/>
                  </a:cubicBezTo>
                  <a:cubicBezTo>
                    <a:pt x="158806" y="128889"/>
                    <a:pt x="172404" y="109852"/>
                    <a:pt x="188722" y="96253"/>
                  </a:cubicBezTo>
                  <a:cubicBezTo>
                    <a:pt x="205040" y="82655"/>
                    <a:pt x="224077" y="77216"/>
                    <a:pt x="243115" y="71776"/>
                  </a:cubicBezTo>
                  <a:cubicBezTo>
                    <a:pt x="256713" y="69057"/>
                    <a:pt x="273031" y="63617"/>
                    <a:pt x="286630" y="63617"/>
                  </a:cubicBezTo>
                  <a:cubicBezTo>
                    <a:pt x="292069" y="63617"/>
                    <a:pt x="297508" y="63617"/>
                    <a:pt x="305667" y="66337"/>
                  </a:cubicBezTo>
                  <a:cubicBezTo>
                    <a:pt x="313826" y="69057"/>
                    <a:pt x="319266" y="74496"/>
                    <a:pt x="324705" y="79936"/>
                  </a:cubicBezTo>
                  <a:cubicBezTo>
                    <a:pt x="332864" y="85375"/>
                    <a:pt x="332864" y="93534"/>
                    <a:pt x="341023" y="101693"/>
                  </a:cubicBezTo>
                  <a:cubicBezTo>
                    <a:pt x="346462" y="107132"/>
                    <a:pt x="349182" y="118011"/>
                    <a:pt x="354621" y="123450"/>
                  </a:cubicBezTo>
                  <a:cubicBezTo>
                    <a:pt x="354621" y="115291"/>
                    <a:pt x="354621" y="101693"/>
                    <a:pt x="354621" y="98973"/>
                  </a:cubicBezTo>
                  <a:cubicBezTo>
                    <a:pt x="354621" y="90814"/>
                    <a:pt x="354621" y="79936"/>
                    <a:pt x="360060" y="74496"/>
                  </a:cubicBezTo>
                  <a:cubicBezTo>
                    <a:pt x="362780" y="71776"/>
                    <a:pt x="362780" y="69057"/>
                    <a:pt x="365500" y="63617"/>
                  </a:cubicBezTo>
                  <a:cubicBezTo>
                    <a:pt x="368219" y="60898"/>
                    <a:pt x="370939" y="58178"/>
                    <a:pt x="373659" y="58178"/>
                  </a:cubicBezTo>
                  <a:cubicBezTo>
                    <a:pt x="376378" y="58178"/>
                    <a:pt x="379098" y="60898"/>
                    <a:pt x="381818" y="63617"/>
                  </a:cubicBezTo>
                  <a:cubicBezTo>
                    <a:pt x="384537" y="69057"/>
                    <a:pt x="387257" y="77216"/>
                    <a:pt x="389977" y="82655"/>
                  </a:cubicBezTo>
                  <a:cubicBezTo>
                    <a:pt x="389977" y="90814"/>
                    <a:pt x="392696" y="107132"/>
                    <a:pt x="392696" y="126170"/>
                  </a:cubicBezTo>
                  <a:cubicBezTo>
                    <a:pt x="392696" y="150647"/>
                    <a:pt x="392696" y="177843"/>
                    <a:pt x="395416" y="186002"/>
                  </a:cubicBezTo>
                  <a:cubicBezTo>
                    <a:pt x="398136" y="205040"/>
                    <a:pt x="398136" y="215918"/>
                    <a:pt x="398136" y="237675"/>
                  </a:cubicBezTo>
                  <a:cubicBezTo>
                    <a:pt x="398136" y="240395"/>
                    <a:pt x="398136" y="243115"/>
                    <a:pt x="398136" y="243115"/>
                  </a:cubicBezTo>
                  <a:cubicBezTo>
                    <a:pt x="398136" y="248554"/>
                    <a:pt x="398136" y="251274"/>
                    <a:pt x="395416" y="256713"/>
                  </a:cubicBezTo>
                  <a:cubicBezTo>
                    <a:pt x="392696" y="267592"/>
                    <a:pt x="389977" y="278470"/>
                    <a:pt x="379098" y="278470"/>
                  </a:cubicBezTo>
                  <a:cubicBezTo>
                    <a:pt x="370939" y="278470"/>
                    <a:pt x="368219" y="275751"/>
                    <a:pt x="362780" y="273031"/>
                  </a:cubicBezTo>
                  <a:cubicBezTo>
                    <a:pt x="357341" y="270311"/>
                    <a:pt x="354621" y="262152"/>
                    <a:pt x="354621" y="256713"/>
                  </a:cubicBezTo>
                  <a:cubicBezTo>
                    <a:pt x="349182" y="237675"/>
                    <a:pt x="354621" y="232236"/>
                    <a:pt x="354621" y="213198"/>
                  </a:cubicBezTo>
                  <a:cubicBezTo>
                    <a:pt x="354621" y="210479"/>
                    <a:pt x="354621" y="207759"/>
                    <a:pt x="354621" y="205040"/>
                  </a:cubicBezTo>
                  <a:cubicBezTo>
                    <a:pt x="349182" y="186002"/>
                    <a:pt x="343742" y="169684"/>
                    <a:pt x="338303" y="147927"/>
                  </a:cubicBezTo>
                  <a:cubicBezTo>
                    <a:pt x="332864" y="131609"/>
                    <a:pt x="311107" y="107132"/>
                    <a:pt x="292069" y="107132"/>
                  </a:cubicBezTo>
                  <a:cubicBezTo>
                    <a:pt x="281190" y="107132"/>
                    <a:pt x="270312" y="115291"/>
                    <a:pt x="262153" y="120730"/>
                  </a:cubicBezTo>
                  <a:cubicBezTo>
                    <a:pt x="259433" y="123450"/>
                    <a:pt x="256713" y="126170"/>
                    <a:pt x="251274" y="131609"/>
                  </a:cubicBezTo>
                  <a:cubicBezTo>
                    <a:pt x="248554" y="134329"/>
                    <a:pt x="243115" y="137048"/>
                    <a:pt x="240395" y="139768"/>
                  </a:cubicBezTo>
                  <a:cubicBezTo>
                    <a:pt x="237676" y="145207"/>
                    <a:pt x="240395" y="156086"/>
                    <a:pt x="237676" y="164245"/>
                  </a:cubicBezTo>
                  <a:cubicBezTo>
                    <a:pt x="232236" y="175123"/>
                    <a:pt x="229517" y="186002"/>
                    <a:pt x="226797" y="196881"/>
                  </a:cubicBezTo>
                  <a:cubicBezTo>
                    <a:pt x="221358" y="218638"/>
                    <a:pt x="218638" y="237675"/>
                    <a:pt x="213199" y="259433"/>
                  </a:cubicBezTo>
                  <a:cubicBezTo>
                    <a:pt x="210479" y="281190"/>
                    <a:pt x="207759" y="302947"/>
                    <a:pt x="207759" y="324704"/>
                  </a:cubicBezTo>
                  <a:cubicBezTo>
                    <a:pt x="207759" y="327424"/>
                    <a:pt x="207759" y="332863"/>
                    <a:pt x="207759" y="335583"/>
                  </a:cubicBezTo>
                  <a:cubicBezTo>
                    <a:pt x="207759" y="341022"/>
                    <a:pt x="205040" y="343742"/>
                    <a:pt x="205040" y="349181"/>
                  </a:cubicBezTo>
                  <a:cubicBezTo>
                    <a:pt x="205040" y="354621"/>
                    <a:pt x="207759" y="362779"/>
                    <a:pt x="207759" y="368219"/>
                  </a:cubicBezTo>
                  <a:cubicBezTo>
                    <a:pt x="207759" y="370939"/>
                    <a:pt x="207759" y="373658"/>
                    <a:pt x="207759" y="376378"/>
                  </a:cubicBezTo>
                  <a:cubicBezTo>
                    <a:pt x="205040" y="381817"/>
                    <a:pt x="205040" y="384537"/>
                    <a:pt x="205040" y="387256"/>
                  </a:cubicBezTo>
                  <a:cubicBezTo>
                    <a:pt x="205040" y="389976"/>
                    <a:pt x="205040" y="392696"/>
                    <a:pt x="205040" y="395415"/>
                  </a:cubicBezTo>
                  <a:cubicBezTo>
                    <a:pt x="205040" y="398135"/>
                    <a:pt x="205040" y="403574"/>
                    <a:pt x="205040" y="406294"/>
                  </a:cubicBezTo>
                  <a:cubicBezTo>
                    <a:pt x="205040" y="411733"/>
                    <a:pt x="205040" y="417173"/>
                    <a:pt x="205040" y="425332"/>
                  </a:cubicBezTo>
                  <a:cubicBezTo>
                    <a:pt x="205040" y="449809"/>
                    <a:pt x="213199" y="471566"/>
                    <a:pt x="213199" y="493323"/>
                  </a:cubicBezTo>
                  <a:cubicBezTo>
                    <a:pt x="213199" y="517800"/>
                    <a:pt x="215919" y="539557"/>
                    <a:pt x="221358" y="561314"/>
                  </a:cubicBezTo>
                  <a:cubicBezTo>
                    <a:pt x="224077" y="572193"/>
                    <a:pt x="224077" y="580352"/>
                    <a:pt x="226797" y="591231"/>
                  </a:cubicBezTo>
                  <a:cubicBezTo>
                    <a:pt x="229517" y="599390"/>
                    <a:pt x="237676" y="607548"/>
                    <a:pt x="240395" y="618427"/>
                  </a:cubicBezTo>
                  <a:cubicBezTo>
                    <a:pt x="248554" y="637465"/>
                    <a:pt x="262153" y="651063"/>
                    <a:pt x="283910" y="651063"/>
                  </a:cubicBezTo>
                  <a:cubicBezTo>
                    <a:pt x="302948" y="651063"/>
                    <a:pt x="330144" y="629306"/>
                    <a:pt x="338303" y="612988"/>
                  </a:cubicBezTo>
                  <a:cubicBezTo>
                    <a:pt x="346462" y="599390"/>
                    <a:pt x="351901" y="591231"/>
                    <a:pt x="354621" y="577632"/>
                  </a:cubicBezTo>
                  <a:cubicBezTo>
                    <a:pt x="354621" y="550436"/>
                    <a:pt x="354621" y="517800"/>
                    <a:pt x="357341" y="509641"/>
                  </a:cubicBezTo>
                  <a:cubicBezTo>
                    <a:pt x="357341" y="501482"/>
                    <a:pt x="357341" y="490603"/>
                    <a:pt x="362780" y="485164"/>
                  </a:cubicBezTo>
                  <a:cubicBezTo>
                    <a:pt x="365500" y="482444"/>
                    <a:pt x="365500" y="479725"/>
                    <a:pt x="368219" y="474286"/>
                  </a:cubicBezTo>
                  <a:cubicBezTo>
                    <a:pt x="370939" y="471566"/>
                    <a:pt x="373659" y="468846"/>
                    <a:pt x="376378" y="468846"/>
                  </a:cubicBezTo>
                  <a:cubicBezTo>
                    <a:pt x="379098" y="468846"/>
                    <a:pt x="381818" y="471566"/>
                    <a:pt x="384537" y="474286"/>
                  </a:cubicBezTo>
                  <a:cubicBezTo>
                    <a:pt x="387257" y="479725"/>
                    <a:pt x="389977" y="487884"/>
                    <a:pt x="392696" y="493323"/>
                  </a:cubicBezTo>
                  <a:cubicBezTo>
                    <a:pt x="392696" y="501482"/>
                    <a:pt x="395416" y="539557"/>
                    <a:pt x="395416" y="558595"/>
                  </a:cubicBezTo>
                  <a:cubicBezTo>
                    <a:pt x="395416" y="583072"/>
                    <a:pt x="395416" y="610268"/>
                    <a:pt x="398136" y="618427"/>
                  </a:cubicBezTo>
                  <a:cubicBezTo>
                    <a:pt x="398136" y="648343"/>
                    <a:pt x="400855" y="659222"/>
                    <a:pt x="400855" y="678260"/>
                  </a:cubicBezTo>
                </a:path>
              </a:pathLst>
            </a:custGeom>
            <a:grpFill/>
            <a:ln w="27168"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50F975C3-A32C-41D2-8CFF-10DB0B12AB12}"/>
                </a:ext>
              </a:extLst>
            </p:cNvPr>
            <p:cNvSpPr/>
            <p:nvPr/>
          </p:nvSpPr>
          <p:spPr>
            <a:xfrm>
              <a:off x="3829459" y="4200317"/>
              <a:ext cx="598325" cy="761503"/>
            </a:xfrm>
            <a:custGeom>
              <a:avLst/>
              <a:gdLst>
                <a:gd name="connsiteX0" fmla="*/ 360060 w 598324"/>
                <a:gd name="connsiteY0" fmla="*/ 332863 h 761503"/>
                <a:gd name="connsiteX1" fmla="*/ 341023 w 598324"/>
                <a:gd name="connsiteY1" fmla="*/ 370939 h 761503"/>
                <a:gd name="connsiteX2" fmla="*/ 376378 w 598324"/>
                <a:gd name="connsiteY2" fmla="*/ 389976 h 761503"/>
                <a:gd name="connsiteX3" fmla="*/ 425332 w 598324"/>
                <a:gd name="connsiteY3" fmla="*/ 433491 h 761503"/>
                <a:gd name="connsiteX4" fmla="*/ 438930 w 598324"/>
                <a:gd name="connsiteY4" fmla="*/ 463407 h 761503"/>
                <a:gd name="connsiteX5" fmla="*/ 449809 w 598324"/>
                <a:gd name="connsiteY5" fmla="*/ 498762 h 761503"/>
                <a:gd name="connsiteX6" fmla="*/ 457968 w 598324"/>
                <a:gd name="connsiteY6" fmla="*/ 528679 h 761503"/>
                <a:gd name="connsiteX7" fmla="*/ 466127 w 598324"/>
                <a:gd name="connsiteY7" fmla="*/ 564034 h 761503"/>
                <a:gd name="connsiteX8" fmla="*/ 471566 w 598324"/>
                <a:gd name="connsiteY8" fmla="*/ 593950 h 761503"/>
                <a:gd name="connsiteX9" fmla="*/ 479725 w 598324"/>
                <a:gd name="connsiteY9" fmla="*/ 607548 h 761503"/>
                <a:gd name="connsiteX10" fmla="*/ 487884 w 598324"/>
                <a:gd name="connsiteY10" fmla="*/ 623867 h 761503"/>
                <a:gd name="connsiteX11" fmla="*/ 501482 w 598324"/>
                <a:gd name="connsiteY11" fmla="*/ 651063 h 761503"/>
                <a:gd name="connsiteX12" fmla="*/ 523240 w 598324"/>
                <a:gd name="connsiteY12" fmla="*/ 670101 h 761503"/>
                <a:gd name="connsiteX13" fmla="*/ 534119 w 598324"/>
                <a:gd name="connsiteY13" fmla="*/ 686418 h 761503"/>
                <a:gd name="connsiteX14" fmla="*/ 531399 w 598324"/>
                <a:gd name="connsiteY14" fmla="*/ 694578 h 761503"/>
                <a:gd name="connsiteX15" fmla="*/ 498763 w 598324"/>
                <a:gd name="connsiteY15" fmla="*/ 708176 h 761503"/>
                <a:gd name="connsiteX16" fmla="*/ 449809 w 598324"/>
                <a:gd name="connsiteY16" fmla="*/ 700017 h 761503"/>
                <a:gd name="connsiteX17" fmla="*/ 400855 w 598324"/>
                <a:gd name="connsiteY17" fmla="*/ 667381 h 761503"/>
                <a:gd name="connsiteX18" fmla="*/ 381817 w 598324"/>
                <a:gd name="connsiteY18" fmla="*/ 642904 h 761503"/>
                <a:gd name="connsiteX19" fmla="*/ 368219 w 598324"/>
                <a:gd name="connsiteY19" fmla="*/ 610268 h 761503"/>
                <a:gd name="connsiteX20" fmla="*/ 349182 w 598324"/>
                <a:gd name="connsiteY20" fmla="*/ 550436 h 761503"/>
                <a:gd name="connsiteX21" fmla="*/ 338303 w 598324"/>
                <a:gd name="connsiteY21" fmla="*/ 504202 h 761503"/>
                <a:gd name="connsiteX22" fmla="*/ 330144 w 598324"/>
                <a:gd name="connsiteY22" fmla="*/ 477005 h 761503"/>
                <a:gd name="connsiteX23" fmla="*/ 321985 w 598324"/>
                <a:gd name="connsiteY23" fmla="*/ 455248 h 761503"/>
                <a:gd name="connsiteX24" fmla="*/ 305667 w 598324"/>
                <a:gd name="connsiteY24" fmla="*/ 436210 h 761503"/>
                <a:gd name="connsiteX25" fmla="*/ 294788 w 598324"/>
                <a:gd name="connsiteY25" fmla="*/ 441650 h 761503"/>
                <a:gd name="connsiteX26" fmla="*/ 278471 w 598324"/>
                <a:gd name="connsiteY26" fmla="*/ 463407 h 761503"/>
                <a:gd name="connsiteX27" fmla="*/ 264872 w 598324"/>
                <a:gd name="connsiteY27" fmla="*/ 496043 h 761503"/>
                <a:gd name="connsiteX28" fmla="*/ 262153 w 598324"/>
                <a:gd name="connsiteY28" fmla="*/ 517800 h 761503"/>
                <a:gd name="connsiteX29" fmla="*/ 262153 w 598324"/>
                <a:gd name="connsiteY29" fmla="*/ 523239 h 761503"/>
                <a:gd name="connsiteX30" fmla="*/ 262153 w 598324"/>
                <a:gd name="connsiteY30" fmla="*/ 553155 h 761503"/>
                <a:gd name="connsiteX31" fmla="*/ 262153 w 598324"/>
                <a:gd name="connsiteY31" fmla="*/ 629306 h 761503"/>
                <a:gd name="connsiteX32" fmla="*/ 259433 w 598324"/>
                <a:gd name="connsiteY32" fmla="*/ 659222 h 761503"/>
                <a:gd name="connsiteX33" fmla="*/ 283910 w 598324"/>
                <a:gd name="connsiteY33" fmla="*/ 659222 h 761503"/>
                <a:gd name="connsiteX34" fmla="*/ 321985 w 598324"/>
                <a:gd name="connsiteY34" fmla="*/ 675540 h 761503"/>
                <a:gd name="connsiteX35" fmla="*/ 316546 w 598324"/>
                <a:gd name="connsiteY35" fmla="*/ 691858 h 761503"/>
                <a:gd name="connsiteX36" fmla="*/ 300228 w 598324"/>
                <a:gd name="connsiteY36" fmla="*/ 700017 h 761503"/>
                <a:gd name="connsiteX37" fmla="*/ 278471 w 598324"/>
                <a:gd name="connsiteY37" fmla="*/ 702736 h 761503"/>
                <a:gd name="connsiteX38" fmla="*/ 243115 w 598324"/>
                <a:gd name="connsiteY38" fmla="*/ 702736 h 761503"/>
                <a:gd name="connsiteX39" fmla="*/ 221358 w 598324"/>
                <a:gd name="connsiteY39" fmla="*/ 710895 h 761503"/>
                <a:gd name="connsiteX40" fmla="*/ 194161 w 598324"/>
                <a:gd name="connsiteY40" fmla="*/ 702736 h 761503"/>
                <a:gd name="connsiteX41" fmla="*/ 177843 w 598324"/>
                <a:gd name="connsiteY41" fmla="*/ 702736 h 761503"/>
                <a:gd name="connsiteX42" fmla="*/ 126170 w 598324"/>
                <a:gd name="connsiteY42" fmla="*/ 702736 h 761503"/>
                <a:gd name="connsiteX43" fmla="*/ 101693 w 598324"/>
                <a:gd name="connsiteY43" fmla="*/ 702736 h 761503"/>
                <a:gd name="connsiteX44" fmla="*/ 74496 w 598324"/>
                <a:gd name="connsiteY44" fmla="*/ 697297 h 761503"/>
                <a:gd name="connsiteX45" fmla="*/ 58178 w 598324"/>
                <a:gd name="connsiteY45" fmla="*/ 680979 h 761503"/>
                <a:gd name="connsiteX46" fmla="*/ 63617 w 598324"/>
                <a:gd name="connsiteY46" fmla="*/ 672820 h 761503"/>
                <a:gd name="connsiteX47" fmla="*/ 85375 w 598324"/>
                <a:gd name="connsiteY47" fmla="*/ 664661 h 761503"/>
                <a:gd name="connsiteX48" fmla="*/ 128889 w 598324"/>
                <a:gd name="connsiteY48" fmla="*/ 659222 h 761503"/>
                <a:gd name="connsiteX49" fmla="*/ 147927 w 598324"/>
                <a:gd name="connsiteY49" fmla="*/ 659222 h 761503"/>
                <a:gd name="connsiteX50" fmla="*/ 145207 w 598324"/>
                <a:gd name="connsiteY50" fmla="*/ 653783 h 761503"/>
                <a:gd name="connsiteX51" fmla="*/ 131609 w 598324"/>
                <a:gd name="connsiteY51" fmla="*/ 585791 h 761503"/>
                <a:gd name="connsiteX52" fmla="*/ 134329 w 598324"/>
                <a:gd name="connsiteY52" fmla="*/ 498762 h 761503"/>
                <a:gd name="connsiteX53" fmla="*/ 137048 w 598324"/>
                <a:gd name="connsiteY53" fmla="*/ 406294 h 761503"/>
                <a:gd name="connsiteX54" fmla="*/ 134329 w 598324"/>
                <a:gd name="connsiteY54" fmla="*/ 327424 h 761503"/>
                <a:gd name="connsiteX55" fmla="*/ 137048 w 598324"/>
                <a:gd name="connsiteY55" fmla="*/ 253993 h 761503"/>
                <a:gd name="connsiteX56" fmla="*/ 139768 w 598324"/>
                <a:gd name="connsiteY56" fmla="*/ 207759 h 761503"/>
                <a:gd name="connsiteX57" fmla="*/ 137048 w 598324"/>
                <a:gd name="connsiteY57" fmla="*/ 172404 h 761503"/>
                <a:gd name="connsiteX58" fmla="*/ 137048 w 598324"/>
                <a:gd name="connsiteY58" fmla="*/ 112571 h 761503"/>
                <a:gd name="connsiteX59" fmla="*/ 126170 w 598324"/>
                <a:gd name="connsiteY59" fmla="*/ 112571 h 761503"/>
                <a:gd name="connsiteX60" fmla="*/ 101693 w 598324"/>
                <a:gd name="connsiteY60" fmla="*/ 112571 h 761503"/>
                <a:gd name="connsiteX61" fmla="*/ 74496 w 598324"/>
                <a:gd name="connsiteY61" fmla="*/ 107132 h 761503"/>
                <a:gd name="connsiteX62" fmla="*/ 58178 w 598324"/>
                <a:gd name="connsiteY62" fmla="*/ 90814 h 761503"/>
                <a:gd name="connsiteX63" fmla="*/ 63617 w 598324"/>
                <a:gd name="connsiteY63" fmla="*/ 82655 h 761503"/>
                <a:gd name="connsiteX64" fmla="*/ 85375 w 598324"/>
                <a:gd name="connsiteY64" fmla="*/ 74496 h 761503"/>
                <a:gd name="connsiteX65" fmla="*/ 137048 w 598324"/>
                <a:gd name="connsiteY65" fmla="*/ 69057 h 761503"/>
                <a:gd name="connsiteX66" fmla="*/ 145207 w 598324"/>
                <a:gd name="connsiteY66" fmla="*/ 69057 h 761503"/>
                <a:gd name="connsiteX67" fmla="*/ 169684 w 598324"/>
                <a:gd name="connsiteY67" fmla="*/ 58178 h 761503"/>
                <a:gd name="connsiteX68" fmla="*/ 177843 w 598324"/>
                <a:gd name="connsiteY68" fmla="*/ 58178 h 761503"/>
                <a:gd name="connsiteX69" fmla="*/ 205040 w 598324"/>
                <a:gd name="connsiteY69" fmla="*/ 66337 h 761503"/>
                <a:gd name="connsiteX70" fmla="*/ 286629 w 598324"/>
                <a:gd name="connsiteY70" fmla="*/ 63617 h 761503"/>
                <a:gd name="connsiteX71" fmla="*/ 324705 w 598324"/>
                <a:gd name="connsiteY71" fmla="*/ 79936 h 761503"/>
                <a:gd name="connsiteX72" fmla="*/ 319265 w 598324"/>
                <a:gd name="connsiteY72" fmla="*/ 96253 h 761503"/>
                <a:gd name="connsiteX73" fmla="*/ 302948 w 598324"/>
                <a:gd name="connsiteY73" fmla="*/ 104412 h 761503"/>
                <a:gd name="connsiteX74" fmla="*/ 278471 w 598324"/>
                <a:gd name="connsiteY74" fmla="*/ 112571 h 761503"/>
                <a:gd name="connsiteX75" fmla="*/ 232236 w 598324"/>
                <a:gd name="connsiteY75" fmla="*/ 112571 h 761503"/>
                <a:gd name="connsiteX76" fmla="*/ 240395 w 598324"/>
                <a:gd name="connsiteY76" fmla="*/ 137048 h 761503"/>
                <a:gd name="connsiteX77" fmla="*/ 240395 w 598324"/>
                <a:gd name="connsiteY77" fmla="*/ 150647 h 761503"/>
                <a:gd name="connsiteX78" fmla="*/ 243115 w 598324"/>
                <a:gd name="connsiteY78" fmla="*/ 158805 h 761503"/>
                <a:gd name="connsiteX79" fmla="*/ 248554 w 598324"/>
                <a:gd name="connsiteY79" fmla="*/ 188722 h 761503"/>
                <a:gd name="connsiteX80" fmla="*/ 248554 w 598324"/>
                <a:gd name="connsiteY80" fmla="*/ 199600 h 761503"/>
                <a:gd name="connsiteX81" fmla="*/ 248554 w 598324"/>
                <a:gd name="connsiteY81" fmla="*/ 221357 h 761503"/>
                <a:gd name="connsiteX82" fmla="*/ 253994 w 598324"/>
                <a:gd name="connsiteY82" fmla="*/ 264872 h 761503"/>
                <a:gd name="connsiteX83" fmla="*/ 262153 w 598324"/>
                <a:gd name="connsiteY83" fmla="*/ 297508 h 761503"/>
                <a:gd name="connsiteX84" fmla="*/ 264872 w 598324"/>
                <a:gd name="connsiteY84" fmla="*/ 324704 h 761503"/>
                <a:gd name="connsiteX85" fmla="*/ 264872 w 598324"/>
                <a:gd name="connsiteY85" fmla="*/ 332863 h 761503"/>
                <a:gd name="connsiteX86" fmla="*/ 264872 w 598324"/>
                <a:gd name="connsiteY86" fmla="*/ 351901 h 761503"/>
                <a:gd name="connsiteX87" fmla="*/ 262153 w 598324"/>
                <a:gd name="connsiteY87" fmla="*/ 370939 h 761503"/>
                <a:gd name="connsiteX88" fmla="*/ 267592 w 598324"/>
                <a:gd name="connsiteY88" fmla="*/ 384537 h 761503"/>
                <a:gd name="connsiteX89" fmla="*/ 278471 w 598324"/>
                <a:gd name="connsiteY89" fmla="*/ 370939 h 761503"/>
                <a:gd name="connsiteX90" fmla="*/ 297508 w 598324"/>
                <a:gd name="connsiteY90" fmla="*/ 332863 h 761503"/>
                <a:gd name="connsiteX91" fmla="*/ 311106 w 598324"/>
                <a:gd name="connsiteY91" fmla="*/ 305667 h 761503"/>
                <a:gd name="connsiteX92" fmla="*/ 335583 w 598324"/>
                <a:gd name="connsiteY92" fmla="*/ 259433 h 761503"/>
                <a:gd name="connsiteX93" fmla="*/ 354621 w 598324"/>
                <a:gd name="connsiteY93" fmla="*/ 224077 h 761503"/>
                <a:gd name="connsiteX94" fmla="*/ 381817 w 598324"/>
                <a:gd name="connsiteY94" fmla="*/ 172404 h 761503"/>
                <a:gd name="connsiteX95" fmla="*/ 409014 w 598324"/>
                <a:gd name="connsiteY95" fmla="*/ 118011 h 761503"/>
                <a:gd name="connsiteX96" fmla="*/ 411734 w 598324"/>
                <a:gd name="connsiteY96" fmla="*/ 115291 h 761503"/>
                <a:gd name="connsiteX97" fmla="*/ 398136 w 598324"/>
                <a:gd name="connsiteY97" fmla="*/ 115291 h 761503"/>
                <a:gd name="connsiteX98" fmla="*/ 379098 w 598324"/>
                <a:gd name="connsiteY98" fmla="*/ 109852 h 761503"/>
                <a:gd name="connsiteX99" fmla="*/ 368219 w 598324"/>
                <a:gd name="connsiteY99" fmla="*/ 93534 h 761503"/>
                <a:gd name="connsiteX100" fmla="*/ 370939 w 598324"/>
                <a:gd name="connsiteY100" fmla="*/ 85375 h 761503"/>
                <a:gd name="connsiteX101" fmla="*/ 387257 w 598324"/>
                <a:gd name="connsiteY101" fmla="*/ 77216 h 761503"/>
                <a:gd name="connsiteX102" fmla="*/ 422612 w 598324"/>
                <a:gd name="connsiteY102" fmla="*/ 71776 h 761503"/>
                <a:gd name="connsiteX103" fmla="*/ 436211 w 598324"/>
                <a:gd name="connsiteY103" fmla="*/ 71776 h 761503"/>
                <a:gd name="connsiteX104" fmla="*/ 438930 w 598324"/>
                <a:gd name="connsiteY104" fmla="*/ 69057 h 761503"/>
                <a:gd name="connsiteX105" fmla="*/ 452529 w 598324"/>
                <a:gd name="connsiteY105" fmla="*/ 66337 h 761503"/>
                <a:gd name="connsiteX106" fmla="*/ 466127 w 598324"/>
                <a:gd name="connsiteY106" fmla="*/ 69057 h 761503"/>
                <a:gd name="connsiteX107" fmla="*/ 471566 w 598324"/>
                <a:gd name="connsiteY107" fmla="*/ 71776 h 761503"/>
                <a:gd name="connsiteX108" fmla="*/ 515081 w 598324"/>
                <a:gd name="connsiteY108" fmla="*/ 71776 h 761503"/>
                <a:gd name="connsiteX109" fmla="*/ 542277 w 598324"/>
                <a:gd name="connsiteY109" fmla="*/ 88094 h 761503"/>
                <a:gd name="connsiteX110" fmla="*/ 536838 w 598324"/>
                <a:gd name="connsiteY110" fmla="*/ 104412 h 761503"/>
                <a:gd name="connsiteX111" fmla="*/ 525959 w 598324"/>
                <a:gd name="connsiteY111" fmla="*/ 112571 h 761503"/>
                <a:gd name="connsiteX112" fmla="*/ 509642 w 598324"/>
                <a:gd name="connsiteY112" fmla="*/ 115291 h 761503"/>
                <a:gd name="connsiteX113" fmla="*/ 468847 w 598324"/>
                <a:gd name="connsiteY113" fmla="*/ 115291 h 761503"/>
                <a:gd name="connsiteX114" fmla="*/ 457968 w 598324"/>
                <a:gd name="connsiteY114" fmla="*/ 137048 h 761503"/>
                <a:gd name="connsiteX115" fmla="*/ 430771 w 598324"/>
                <a:gd name="connsiteY115" fmla="*/ 194161 h 761503"/>
                <a:gd name="connsiteX116" fmla="*/ 400855 w 598324"/>
                <a:gd name="connsiteY116" fmla="*/ 262152 h 761503"/>
                <a:gd name="connsiteX117" fmla="*/ 360060 w 598324"/>
                <a:gd name="connsiteY117" fmla="*/ 332863 h 76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98324" h="761503">
                  <a:moveTo>
                    <a:pt x="360060" y="332863"/>
                  </a:moveTo>
                  <a:cubicBezTo>
                    <a:pt x="351901" y="343742"/>
                    <a:pt x="341023" y="357340"/>
                    <a:pt x="341023" y="370939"/>
                  </a:cubicBezTo>
                  <a:cubicBezTo>
                    <a:pt x="341023" y="379098"/>
                    <a:pt x="357341" y="381817"/>
                    <a:pt x="376378" y="389976"/>
                  </a:cubicBezTo>
                  <a:cubicBezTo>
                    <a:pt x="395416" y="398135"/>
                    <a:pt x="417173" y="417173"/>
                    <a:pt x="425332" y="433491"/>
                  </a:cubicBezTo>
                  <a:cubicBezTo>
                    <a:pt x="430771" y="444369"/>
                    <a:pt x="436211" y="452528"/>
                    <a:pt x="438930" y="463407"/>
                  </a:cubicBezTo>
                  <a:cubicBezTo>
                    <a:pt x="444370" y="474286"/>
                    <a:pt x="447089" y="487884"/>
                    <a:pt x="449809" y="498762"/>
                  </a:cubicBezTo>
                  <a:cubicBezTo>
                    <a:pt x="452529" y="512361"/>
                    <a:pt x="452529" y="517800"/>
                    <a:pt x="457968" y="528679"/>
                  </a:cubicBezTo>
                  <a:cubicBezTo>
                    <a:pt x="463407" y="539557"/>
                    <a:pt x="463407" y="553155"/>
                    <a:pt x="466127" y="564034"/>
                  </a:cubicBezTo>
                  <a:cubicBezTo>
                    <a:pt x="468847" y="572193"/>
                    <a:pt x="468847" y="585791"/>
                    <a:pt x="471566" y="593950"/>
                  </a:cubicBezTo>
                  <a:cubicBezTo>
                    <a:pt x="474286" y="599390"/>
                    <a:pt x="477006" y="602109"/>
                    <a:pt x="479725" y="607548"/>
                  </a:cubicBezTo>
                  <a:cubicBezTo>
                    <a:pt x="482445" y="612988"/>
                    <a:pt x="487884" y="618427"/>
                    <a:pt x="487884" y="623867"/>
                  </a:cubicBezTo>
                  <a:cubicBezTo>
                    <a:pt x="490604" y="634745"/>
                    <a:pt x="496043" y="642904"/>
                    <a:pt x="501482" y="651063"/>
                  </a:cubicBezTo>
                  <a:cubicBezTo>
                    <a:pt x="506922" y="661942"/>
                    <a:pt x="512361" y="664661"/>
                    <a:pt x="523240" y="670101"/>
                  </a:cubicBezTo>
                  <a:cubicBezTo>
                    <a:pt x="528679" y="672820"/>
                    <a:pt x="534119" y="680979"/>
                    <a:pt x="534119" y="686418"/>
                  </a:cubicBezTo>
                  <a:cubicBezTo>
                    <a:pt x="534119" y="689138"/>
                    <a:pt x="534119" y="691858"/>
                    <a:pt x="531399" y="694578"/>
                  </a:cubicBezTo>
                  <a:cubicBezTo>
                    <a:pt x="525959" y="702736"/>
                    <a:pt x="512361" y="708176"/>
                    <a:pt x="498763" y="708176"/>
                  </a:cubicBezTo>
                  <a:cubicBezTo>
                    <a:pt x="485165" y="708176"/>
                    <a:pt x="466127" y="705456"/>
                    <a:pt x="449809" y="700017"/>
                  </a:cubicBezTo>
                  <a:cubicBezTo>
                    <a:pt x="430771" y="694578"/>
                    <a:pt x="409014" y="675540"/>
                    <a:pt x="400855" y="667381"/>
                  </a:cubicBezTo>
                  <a:cubicBezTo>
                    <a:pt x="392696" y="659222"/>
                    <a:pt x="387257" y="651063"/>
                    <a:pt x="381817" y="642904"/>
                  </a:cubicBezTo>
                  <a:cubicBezTo>
                    <a:pt x="376378" y="632025"/>
                    <a:pt x="370939" y="623867"/>
                    <a:pt x="368219" y="610268"/>
                  </a:cubicBezTo>
                  <a:cubicBezTo>
                    <a:pt x="360060" y="588511"/>
                    <a:pt x="357341" y="574913"/>
                    <a:pt x="349182" y="550436"/>
                  </a:cubicBezTo>
                  <a:cubicBezTo>
                    <a:pt x="343742" y="534118"/>
                    <a:pt x="341023" y="520520"/>
                    <a:pt x="338303" y="504202"/>
                  </a:cubicBezTo>
                  <a:cubicBezTo>
                    <a:pt x="335583" y="493323"/>
                    <a:pt x="332864" y="485164"/>
                    <a:pt x="330144" y="477005"/>
                  </a:cubicBezTo>
                  <a:cubicBezTo>
                    <a:pt x="327424" y="471566"/>
                    <a:pt x="324705" y="463407"/>
                    <a:pt x="321985" y="455248"/>
                  </a:cubicBezTo>
                  <a:cubicBezTo>
                    <a:pt x="316546" y="444369"/>
                    <a:pt x="311106" y="436210"/>
                    <a:pt x="305667" y="436210"/>
                  </a:cubicBezTo>
                  <a:cubicBezTo>
                    <a:pt x="302948" y="436210"/>
                    <a:pt x="300228" y="438930"/>
                    <a:pt x="294788" y="441650"/>
                  </a:cubicBezTo>
                  <a:cubicBezTo>
                    <a:pt x="289349" y="447089"/>
                    <a:pt x="283910" y="455248"/>
                    <a:pt x="278471" y="463407"/>
                  </a:cubicBezTo>
                  <a:cubicBezTo>
                    <a:pt x="270312" y="474286"/>
                    <a:pt x="267592" y="485164"/>
                    <a:pt x="264872" y="496043"/>
                  </a:cubicBezTo>
                  <a:cubicBezTo>
                    <a:pt x="264872" y="504202"/>
                    <a:pt x="262153" y="512361"/>
                    <a:pt x="262153" y="517800"/>
                  </a:cubicBezTo>
                  <a:cubicBezTo>
                    <a:pt x="262153" y="520520"/>
                    <a:pt x="262153" y="520520"/>
                    <a:pt x="262153" y="523239"/>
                  </a:cubicBezTo>
                  <a:cubicBezTo>
                    <a:pt x="262153" y="528679"/>
                    <a:pt x="262153" y="544997"/>
                    <a:pt x="262153" y="553155"/>
                  </a:cubicBezTo>
                  <a:cubicBezTo>
                    <a:pt x="262153" y="583072"/>
                    <a:pt x="264872" y="599390"/>
                    <a:pt x="262153" y="629306"/>
                  </a:cubicBezTo>
                  <a:cubicBezTo>
                    <a:pt x="262153" y="640184"/>
                    <a:pt x="262153" y="648343"/>
                    <a:pt x="259433" y="659222"/>
                  </a:cubicBezTo>
                  <a:cubicBezTo>
                    <a:pt x="270312" y="659222"/>
                    <a:pt x="278471" y="659222"/>
                    <a:pt x="283910" y="659222"/>
                  </a:cubicBezTo>
                  <a:cubicBezTo>
                    <a:pt x="297508" y="659222"/>
                    <a:pt x="321985" y="659222"/>
                    <a:pt x="321985" y="675540"/>
                  </a:cubicBezTo>
                  <a:cubicBezTo>
                    <a:pt x="321985" y="683699"/>
                    <a:pt x="319265" y="686418"/>
                    <a:pt x="316546" y="691858"/>
                  </a:cubicBezTo>
                  <a:cubicBezTo>
                    <a:pt x="311106" y="697297"/>
                    <a:pt x="305667" y="700017"/>
                    <a:pt x="300228" y="700017"/>
                  </a:cubicBezTo>
                  <a:cubicBezTo>
                    <a:pt x="292069" y="702736"/>
                    <a:pt x="283910" y="702736"/>
                    <a:pt x="278471" y="702736"/>
                  </a:cubicBezTo>
                  <a:cubicBezTo>
                    <a:pt x="275751" y="702736"/>
                    <a:pt x="259433" y="702736"/>
                    <a:pt x="243115" y="702736"/>
                  </a:cubicBezTo>
                  <a:cubicBezTo>
                    <a:pt x="237676" y="708176"/>
                    <a:pt x="229517" y="710895"/>
                    <a:pt x="221358" y="710895"/>
                  </a:cubicBezTo>
                  <a:cubicBezTo>
                    <a:pt x="213199" y="710895"/>
                    <a:pt x="202320" y="708176"/>
                    <a:pt x="194161" y="702736"/>
                  </a:cubicBezTo>
                  <a:cubicBezTo>
                    <a:pt x="186002" y="702736"/>
                    <a:pt x="180563" y="702736"/>
                    <a:pt x="177843" y="702736"/>
                  </a:cubicBezTo>
                  <a:cubicBezTo>
                    <a:pt x="164245" y="702736"/>
                    <a:pt x="139768" y="702736"/>
                    <a:pt x="126170" y="702736"/>
                  </a:cubicBezTo>
                  <a:cubicBezTo>
                    <a:pt x="118011" y="702736"/>
                    <a:pt x="109852" y="702736"/>
                    <a:pt x="101693" y="702736"/>
                  </a:cubicBezTo>
                  <a:cubicBezTo>
                    <a:pt x="93534" y="702736"/>
                    <a:pt x="82655" y="702736"/>
                    <a:pt x="74496" y="697297"/>
                  </a:cubicBezTo>
                  <a:cubicBezTo>
                    <a:pt x="66337" y="694578"/>
                    <a:pt x="58178" y="686418"/>
                    <a:pt x="58178" y="680979"/>
                  </a:cubicBezTo>
                  <a:cubicBezTo>
                    <a:pt x="58178" y="678260"/>
                    <a:pt x="58178" y="675540"/>
                    <a:pt x="63617" y="672820"/>
                  </a:cubicBezTo>
                  <a:cubicBezTo>
                    <a:pt x="69057" y="670101"/>
                    <a:pt x="79935" y="667381"/>
                    <a:pt x="85375" y="664661"/>
                  </a:cubicBezTo>
                  <a:cubicBezTo>
                    <a:pt x="104412" y="661942"/>
                    <a:pt x="123450" y="659222"/>
                    <a:pt x="128889" y="659222"/>
                  </a:cubicBezTo>
                  <a:cubicBezTo>
                    <a:pt x="134329" y="659222"/>
                    <a:pt x="139768" y="659222"/>
                    <a:pt x="147927" y="659222"/>
                  </a:cubicBezTo>
                  <a:cubicBezTo>
                    <a:pt x="147927" y="656502"/>
                    <a:pt x="145207" y="653783"/>
                    <a:pt x="145207" y="653783"/>
                  </a:cubicBezTo>
                  <a:cubicBezTo>
                    <a:pt x="131609" y="632025"/>
                    <a:pt x="131609" y="610268"/>
                    <a:pt x="131609" y="585791"/>
                  </a:cubicBezTo>
                  <a:cubicBezTo>
                    <a:pt x="131609" y="555875"/>
                    <a:pt x="131609" y="528679"/>
                    <a:pt x="134329" y="498762"/>
                  </a:cubicBezTo>
                  <a:cubicBezTo>
                    <a:pt x="134329" y="468846"/>
                    <a:pt x="137048" y="436210"/>
                    <a:pt x="137048" y="406294"/>
                  </a:cubicBezTo>
                  <a:cubicBezTo>
                    <a:pt x="137048" y="379098"/>
                    <a:pt x="134329" y="354621"/>
                    <a:pt x="134329" y="327424"/>
                  </a:cubicBezTo>
                  <a:cubicBezTo>
                    <a:pt x="134329" y="302947"/>
                    <a:pt x="137048" y="278470"/>
                    <a:pt x="137048" y="253993"/>
                  </a:cubicBezTo>
                  <a:cubicBezTo>
                    <a:pt x="137048" y="237675"/>
                    <a:pt x="139768" y="224077"/>
                    <a:pt x="139768" y="207759"/>
                  </a:cubicBezTo>
                  <a:cubicBezTo>
                    <a:pt x="139768" y="196881"/>
                    <a:pt x="137048" y="183282"/>
                    <a:pt x="137048" y="172404"/>
                  </a:cubicBezTo>
                  <a:cubicBezTo>
                    <a:pt x="137048" y="150647"/>
                    <a:pt x="137048" y="131609"/>
                    <a:pt x="137048" y="112571"/>
                  </a:cubicBezTo>
                  <a:cubicBezTo>
                    <a:pt x="134329" y="112571"/>
                    <a:pt x="137048" y="112571"/>
                    <a:pt x="126170" y="112571"/>
                  </a:cubicBezTo>
                  <a:cubicBezTo>
                    <a:pt x="118011" y="112571"/>
                    <a:pt x="109852" y="112571"/>
                    <a:pt x="101693" y="112571"/>
                  </a:cubicBezTo>
                  <a:cubicBezTo>
                    <a:pt x="93534" y="112571"/>
                    <a:pt x="82655" y="109852"/>
                    <a:pt x="74496" y="107132"/>
                  </a:cubicBezTo>
                  <a:cubicBezTo>
                    <a:pt x="66337" y="104412"/>
                    <a:pt x="58178" y="96253"/>
                    <a:pt x="58178" y="90814"/>
                  </a:cubicBezTo>
                  <a:cubicBezTo>
                    <a:pt x="58178" y="88094"/>
                    <a:pt x="58178" y="85375"/>
                    <a:pt x="63617" y="82655"/>
                  </a:cubicBezTo>
                  <a:cubicBezTo>
                    <a:pt x="69057" y="79936"/>
                    <a:pt x="79935" y="77216"/>
                    <a:pt x="85375" y="74496"/>
                  </a:cubicBezTo>
                  <a:cubicBezTo>
                    <a:pt x="104412" y="71776"/>
                    <a:pt x="128889" y="69057"/>
                    <a:pt x="137048" y="69057"/>
                  </a:cubicBezTo>
                  <a:cubicBezTo>
                    <a:pt x="137048" y="69057"/>
                    <a:pt x="139768" y="69057"/>
                    <a:pt x="145207" y="69057"/>
                  </a:cubicBezTo>
                  <a:cubicBezTo>
                    <a:pt x="150646" y="60898"/>
                    <a:pt x="158806" y="58178"/>
                    <a:pt x="169684" y="58178"/>
                  </a:cubicBezTo>
                  <a:cubicBezTo>
                    <a:pt x="172404" y="58178"/>
                    <a:pt x="175123" y="58178"/>
                    <a:pt x="177843" y="58178"/>
                  </a:cubicBezTo>
                  <a:cubicBezTo>
                    <a:pt x="186002" y="58178"/>
                    <a:pt x="196881" y="63617"/>
                    <a:pt x="205040" y="66337"/>
                  </a:cubicBezTo>
                  <a:cubicBezTo>
                    <a:pt x="237676" y="66337"/>
                    <a:pt x="273031" y="63617"/>
                    <a:pt x="286629" y="63617"/>
                  </a:cubicBezTo>
                  <a:cubicBezTo>
                    <a:pt x="300228" y="63617"/>
                    <a:pt x="324705" y="63617"/>
                    <a:pt x="324705" y="79936"/>
                  </a:cubicBezTo>
                  <a:cubicBezTo>
                    <a:pt x="324705" y="88094"/>
                    <a:pt x="321985" y="90814"/>
                    <a:pt x="319265" y="96253"/>
                  </a:cubicBezTo>
                  <a:cubicBezTo>
                    <a:pt x="313826" y="101693"/>
                    <a:pt x="308387" y="104412"/>
                    <a:pt x="302948" y="104412"/>
                  </a:cubicBezTo>
                  <a:cubicBezTo>
                    <a:pt x="289349" y="112571"/>
                    <a:pt x="283910" y="112571"/>
                    <a:pt x="278471" y="112571"/>
                  </a:cubicBezTo>
                  <a:cubicBezTo>
                    <a:pt x="273031" y="112571"/>
                    <a:pt x="253994" y="112571"/>
                    <a:pt x="232236" y="112571"/>
                  </a:cubicBezTo>
                  <a:cubicBezTo>
                    <a:pt x="237676" y="120730"/>
                    <a:pt x="240395" y="128889"/>
                    <a:pt x="240395" y="137048"/>
                  </a:cubicBezTo>
                  <a:cubicBezTo>
                    <a:pt x="240395" y="142487"/>
                    <a:pt x="240395" y="145207"/>
                    <a:pt x="240395" y="150647"/>
                  </a:cubicBezTo>
                  <a:cubicBezTo>
                    <a:pt x="240395" y="153366"/>
                    <a:pt x="240395" y="156086"/>
                    <a:pt x="243115" y="158805"/>
                  </a:cubicBezTo>
                  <a:cubicBezTo>
                    <a:pt x="245835" y="169684"/>
                    <a:pt x="245835" y="180563"/>
                    <a:pt x="248554" y="188722"/>
                  </a:cubicBezTo>
                  <a:cubicBezTo>
                    <a:pt x="248554" y="191441"/>
                    <a:pt x="248554" y="194161"/>
                    <a:pt x="248554" y="199600"/>
                  </a:cubicBezTo>
                  <a:cubicBezTo>
                    <a:pt x="248554" y="207759"/>
                    <a:pt x="248554" y="213198"/>
                    <a:pt x="248554" y="221357"/>
                  </a:cubicBezTo>
                  <a:cubicBezTo>
                    <a:pt x="248554" y="234956"/>
                    <a:pt x="251274" y="248554"/>
                    <a:pt x="253994" y="264872"/>
                  </a:cubicBezTo>
                  <a:cubicBezTo>
                    <a:pt x="256713" y="275751"/>
                    <a:pt x="259433" y="286629"/>
                    <a:pt x="262153" y="297508"/>
                  </a:cubicBezTo>
                  <a:cubicBezTo>
                    <a:pt x="264872" y="305667"/>
                    <a:pt x="264872" y="313826"/>
                    <a:pt x="264872" y="324704"/>
                  </a:cubicBezTo>
                  <a:cubicBezTo>
                    <a:pt x="264872" y="327424"/>
                    <a:pt x="264872" y="330144"/>
                    <a:pt x="264872" y="332863"/>
                  </a:cubicBezTo>
                  <a:cubicBezTo>
                    <a:pt x="264872" y="338303"/>
                    <a:pt x="264872" y="346462"/>
                    <a:pt x="264872" y="351901"/>
                  </a:cubicBezTo>
                  <a:cubicBezTo>
                    <a:pt x="264872" y="357340"/>
                    <a:pt x="262153" y="365499"/>
                    <a:pt x="262153" y="370939"/>
                  </a:cubicBezTo>
                  <a:cubicBezTo>
                    <a:pt x="262153" y="376378"/>
                    <a:pt x="264872" y="384537"/>
                    <a:pt x="267592" y="384537"/>
                  </a:cubicBezTo>
                  <a:cubicBezTo>
                    <a:pt x="273031" y="384537"/>
                    <a:pt x="275751" y="376378"/>
                    <a:pt x="278471" y="370939"/>
                  </a:cubicBezTo>
                  <a:cubicBezTo>
                    <a:pt x="283910" y="360060"/>
                    <a:pt x="289349" y="346462"/>
                    <a:pt x="297508" y="332863"/>
                  </a:cubicBezTo>
                  <a:cubicBezTo>
                    <a:pt x="302948" y="324704"/>
                    <a:pt x="305667" y="313826"/>
                    <a:pt x="311106" y="305667"/>
                  </a:cubicBezTo>
                  <a:cubicBezTo>
                    <a:pt x="319265" y="289349"/>
                    <a:pt x="327424" y="275751"/>
                    <a:pt x="335583" y="259433"/>
                  </a:cubicBezTo>
                  <a:cubicBezTo>
                    <a:pt x="341023" y="248554"/>
                    <a:pt x="349182" y="234956"/>
                    <a:pt x="354621" y="224077"/>
                  </a:cubicBezTo>
                  <a:cubicBezTo>
                    <a:pt x="362780" y="207759"/>
                    <a:pt x="370939" y="191441"/>
                    <a:pt x="381817" y="172404"/>
                  </a:cubicBezTo>
                  <a:cubicBezTo>
                    <a:pt x="389977" y="153366"/>
                    <a:pt x="400855" y="134329"/>
                    <a:pt x="409014" y="118011"/>
                  </a:cubicBezTo>
                  <a:cubicBezTo>
                    <a:pt x="409014" y="115291"/>
                    <a:pt x="409014" y="115291"/>
                    <a:pt x="411734" y="115291"/>
                  </a:cubicBezTo>
                  <a:cubicBezTo>
                    <a:pt x="406294" y="115291"/>
                    <a:pt x="400855" y="115291"/>
                    <a:pt x="398136" y="115291"/>
                  </a:cubicBezTo>
                  <a:cubicBezTo>
                    <a:pt x="392696" y="115291"/>
                    <a:pt x="384537" y="115291"/>
                    <a:pt x="379098" y="109852"/>
                  </a:cubicBezTo>
                  <a:cubicBezTo>
                    <a:pt x="373659" y="107132"/>
                    <a:pt x="368219" y="98973"/>
                    <a:pt x="368219" y="93534"/>
                  </a:cubicBezTo>
                  <a:cubicBezTo>
                    <a:pt x="368219" y="90814"/>
                    <a:pt x="368219" y="88094"/>
                    <a:pt x="370939" y="85375"/>
                  </a:cubicBezTo>
                  <a:cubicBezTo>
                    <a:pt x="373659" y="82655"/>
                    <a:pt x="381817" y="79936"/>
                    <a:pt x="387257" y="77216"/>
                  </a:cubicBezTo>
                  <a:cubicBezTo>
                    <a:pt x="400855" y="74496"/>
                    <a:pt x="414453" y="71776"/>
                    <a:pt x="422612" y="71776"/>
                  </a:cubicBezTo>
                  <a:cubicBezTo>
                    <a:pt x="425332" y="71776"/>
                    <a:pt x="430771" y="71776"/>
                    <a:pt x="436211" y="71776"/>
                  </a:cubicBezTo>
                  <a:cubicBezTo>
                    <a:pt x="436211" y="71776"/>
                    <a:pt x="438930" y="69057"/>
                    <a:pt x="438930" y="69057"/>
                  </a:cubicBezTo>
                  <a:cubicBezTo>
                    <a:pt x="444370" y="66337"/>
                    <a:pt x="447089" y="66337"/>
                    <a:pt x="452529" y="66337"/>
                  </a:cubicBezTo>
                  <a:cubicBezTo>
                    <a:pt x="457968" y="66337"/>
                    <a:pt x="460688" y="66337"/>
                    <a:pt x="466127" y="69057"/>
                  </a:cubicBezTo>
                  <a:cubicBezTo>
                    <a:pt x="468847" y="69057"/>
                    <a:pt x="471566" y="71776"/>
                    <a:pt x="471566" y="71776"/>
                  </a:cubicBezTo>
                  <a:cubicBezTo>
                    <a:pt x="490604" y="71776"/>
                    <a:pt x="506922" y="71776"/>
                    <a:pt x="515081" y="71776"/>
                  </a:cubicBezTo>
                  <a:cubicBezTo>
                    <a:pt x="523240" y="71776"/>
                    <a:pt x="542277" y="71776"/>
                    <a:pt x="542277" y="88094"/>
                  </a:cubicBezTo>
                  <a:cubicBezTo>
                    <a:pt x="542277" y="96253"/>
                    <a:pt x="542277" y="98973"/>
                    <a:pt x="536838" y="104412"/>
                  </a:cubicBezTo>
                  <a:cubicBezTo>
                    <a:pt x="534119" y="109852"/>
                    <a:pt x="528679" y="112571"/>
                    <a:pt x="525959" y="112571"/>
                  </a:cubicBezTo>
                  <a:cubicBezTo>
                    <a:pt x="520520" y="115291"/>
                    <a:pt x="515081" y="115291"/>
                    <a:pt x="509642" y="115291"/>
                  </a:cubicBezTo>
                  <a:cubicBezTo>
                    <a:pt x="506922" y="115291"/>
                    <a:pt x="487884" y="115291"/>
                    <a:pt x="468847" y="115291"/>
                  </a:cubicBezTo>
                  <a:cubicBezTo>
                    <a:pt x="466127" y="123450"/>
                    <a:pt x="460688" y="128889"/>
                    <a:pt x="457968" y="137048"/>
                  </a:cubicBezTo>
                  <a:cubicBezTo>
                    <a:pt x="447089" y="156086"/>
                    <a:pt x="438930" y="175123"/>
                    <a:pt x="430771" y="194161"/>
                  </a:cubicBezTo>
                  <a:cubicBezTo>
                    <a:pt x="419893" y="215918"/>
                    <a:pt x="411734" y="240395"/>
                    <a:pt x="400855" y="262152"/>
                  </a:cubicBezTo>
                  <a:cubicBezTo>
                    <a:pt x="387257" y="289349"/>
                    <a:pt x="373659" y="311106"/>
                    <a:pt x="360060" y="332863"/>
                  </a:cubicBezTo>
                </a:path>
              </a:pathLst>
            </a:custGeom>
            <a:grpFill/>
            <a:ln w="27168"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F725E8DD-366F-4857-AE71-254A6D3D95DE}"/>
                </a:ext>
              </a:extLst>
            </p:cNvPr>
            <p:cNvSpPr/>
            <p:nvPr/>
          </p:nvSpPr>
          <p:spPr>
            <a:xfrm>
              <a:off x="4335316" y="4186718"/>
              <a:ext cx="353556" cy="761503"/>
            </a:xfrm>
            <a:custGeom>
              <a:avLst/>
              <a:gdLst>
                <a:gd name="connsiteX0" fmla="*/ 283910 w 353555"/>
                <a:gd name="connsiteY0" fmla="*/ 672820 h 761503"/>
                <a:gd name="connsiteX1" fmla="*/ 321985 w 353555"/>
                <a:gd name="connsiteY1" fmla="*/ 689138 h 761503"/>
                <a:gd name="connsiteX2" fmla="*/ 316546 w 353555"/>
                <a:gd name="connsiteY2" fmla="*/ 705456 h 761503"/>
                <a:gd name="connsiteX3" fmla="*/ 300228 w 353555"/>
                <a:gd name="connsiteY3" fmla="*/ 713615 h 761503"/>
                <a:gd name="connsiteX4" fmla="*/ 278471 w 353555"/>
                <a:gd name="connsiteY4" fmla="*/ 716335 h 761503"/>
                <a:gd name="connsiteX5" fmla="*/ 237676 w 353555"/>
                <a:gd name="connsiteY5" fmla="*/ 716335 h 761503"/>
                <a:gd name="connsiteX6" fmla="*/ 180563 w 353555"/>
                <a:gd name="connsiteY6" fmla="*/ 719054 h 761503"/>
                <a:gd name="connsiteX7" fmla="*/ 126170 w 353555"/>
                <a:gd name="connsiteY7" fmla="*/ 719054 h 761503"/>
                <a:gd name="connsiteX8" fmla="*/ 101693 w 353555"/>
                <a:gd name="connsiteY8" fmla="*/ 719054 h 761503"/>
                <a:gd name="connsiteX9" fmla="*/ 74496 w 353555"/>
                <a:gd name="connsiteY9" fmla="*/ 713615 h 761503"/>
                <a:gd name="connsiteX10" fmla="*/ 58178 w 353555"/>
                <a:gd name="connsiteY10" fmla="*/ 697297 h 761503"/>
                <a:gd name="connsiteX11" fmla="*/ 63617 w 353555"/>
                <a:gd name="connsiteY11" fmla="*/ 689138 h 761503"/>
                <a:gd name="connsiteX12" fmla="*/ 85375 w 353555"/>
                <a:gd name="connsiteY12" fmla="*/ 680979 h 761503"/>
                <a:gd name="connsiteX13" fmla="*/ 131609 w 353555"/>
                <a:gd name="connsiteY13" fmla="*/ 675540 h 761503"/>
                <a:gd name="connsiteX14" fmla="*/ 142488 w 353555"/>
                <a:gd name="connsiteY14" fmla="*/ 675540 h 761503"/>
                <a:gd name="connsiteX15" fmla="*/ 131609 w 353555"/>
                <a:gd name="connsiteY15" fmla="*/ 653783 h 761503"/>
                <a:gd name="connsiteX16" fmla="*/ 128889 w 353555"/>
                <a:gd name="connsiteY16" fmla="*/ 640184 h 761503"/>
                <a:gd name="connsiteX17" fmla="*/ 128889 w 353555"/>
                <a:gd name="connsiteY17" fmla="*/ 629306 h 761503"/>
                <a:gd name="connsiteX18" fmla="*/ 128889 w 353555"/>
                <a:gd name="connsiteY18" fmla="*/ 621147 h 761503"/>
                <a:gd name="connsiteX19" fmla="*/ 128889 w 353555"/>
                <a:gd name="connsiteY19" fmla="*/ 593950 h 761503"/>
                <a:gd name="connsiteX20" fmla="*/ 128889 w 353555"/>
                <a:gd name="connsiteY20" fmla="*/ 583072 h 761503"/>
                <a:gd name="connsiteX21" fmla="*/ 128889 w 353555"/>
                <a:gd name="connsiteY21" fmla="*/ 436210 h 761503"/>
                <a:gd name="connsiteX22" fmla="*/ 128889 w 353555"/>
                <a:gd name="connsiteY22" fmla="*/ 357340 h 761503"/>
                <a:gd name="connsiteX23" fmla="*/ 131609 w 353555"/>
                <a:gd name="connsiteY23" fmla="*/ 289349 h 761503"/>
                <a:gd name="connsiteX24" fmla="*/ 131609 w 353555"/>
                <a:gd name="connsiteY24" fmla="*/ 251274 h 761503"/>
                <a:gd name="connsiteX25" fmla="*/ 131609 w 353555"/>
                <a:gd name="connsiteY25" fmla="*/ 205040 h 761503"/>
                <a:gd name="connsiteX26" fmla="*/ 131609 w 353555"/>
                <a:gd name="connsiteY26" fmla="*/ 139768 h 761503"/>
                <a:gd name="connsiteX27" fmla="*/ 131609 w 353555"/>
                <a:gd name="connsiteY27" fmla="*/ 128889 h 761503"/>
                <a:gd name="connsiteX28" fmla="*/ 126170 w 353555"/>
                <a:gd name="connsiteY28" fmla="*/ 128889 h 761503"/>
                <a:gd name="connsiteX29" fmla="*/ 101693 w 353555"/>
                <a:gd name="connsiteY29" fmla="*/ 128889 h 761503"/>
                <a:gd name="connsiteX30" fmla="*/ 74496 w 353555"/>
                <a:gd name="connsiteY30" fmla="*/ 123450 h 761503"/>
                <a:gd name="connsiteX31" fmla="*/ 58178 w 353555"/>
                <a:gd name="connsiteY31" fmla="*/ 107132 h 761503"/>
                <a:gd name="connsiteX32" fmla="*/ 60898 w 353555"/>
                <a:gd name="connsiteY32" fmla="*/ 98973 h 761503"/>
                <a:gd name="connsiteX33" fmla="*/ 82655 w 353555"/>
                <a:gd name="connsiteY33" fmla="*/ 93534 h 761503"/>
                <a:gd name="connsiteX34" fmla="*/ 131609 w 353555"/>
                <a:gd name="connsiteY34" fmla="*/ 88094 h 761503"/>
                <a:gd name="connsiteX35" fmla="*/ 131609 w 353555"/>
                <a:gd name="connsiteY35" fmla="*/ 82655 h 761503"/>
                <a:gd name="connsiteX36" fmla="*/ 134329 w 353555"/>
                <a:gd name="connsiteY36" fmla="*/ 71776 h 761503"/>
                <a:gd name="connsiteX37" fmla="*/ 147927 w 353555"/>
                <a:gd name="connsiteY37" fmla="*/ 63617 h 761503"/>
                <a:gd name="connsiteX38" fmla="*/ 164245 w 353555"/>
                <a:gd name="connsiteY38" fmla="*/ 58178 h 761503"/>
                <a:gd name="connsiteX39" fmla="*/ 177843 w 353555"/>
                <a:gd name="connsiteY39" fmla="*/ 58178 h 761503"/>
                <a:gd name="connsiteX40" fmla="*/ 196881 w 353555"/>
                <a:gd name="connsiteY40" fmla="*/ 60898 h 761503"/>
                <a:gd name="connsiteX41" fmla="*/ 232236 w 353555"/>
                <a:gd name="connsiteY41" fmla="*/ 88094 h 761503"/>
                <a:gd name="connsiteX42" fmla="*/ 278471 w 353555"/>
                <a:gd name="connsiteY42" fmla="*/ 88094 h 761503"/>
                <a:gd name="connsiteX43" fmla="*/ 316546 w 353555"/>
                <a:gd name="connsiteY43" fmla="*/ 104412 h 761503"/>
                <a:gd name="connsiteX44" fmla="*/ 311106 w 353555"/>
                <a:gd name="connsiteY44" fmla="*/ 120730 h 761503"/>
                <a:gd name="connsiteX45" fmla="*/ 294788 w 353555"/>
                <a:gd name="connsiteY45" fmla="*/ 128889 h 761503"/>
                <a:gd name="connsiteX46" fmla="*/ 273031 w 353555"/>
                <a:gd name="connsiteY46" fmla="*/ 131609 h 761503"/>
                <a:gd name="connsiteX47" fmla="*/ 243115 w 353555"/>
                <a:gd name="connsiteY47" fmla="*/ 131609 h 761503"/>
                <a:gd name="connsiteX48" fmla="*/ 243115 w 353555"/>
                <a:gd name="connsiteY48" fmla="*/ 134329 h 761503"/>
                <a:gd name="connsiteX49" fmla="*/ 248554 w 353555"/>
                <a:gd name="connsiteY49" fmla="*/ 169684 h 761503"/>
                <a:gd name="connsiteX50" fmla="*/ 251274 w 353555"/>
                <a:gd name="connsiteY50" fmla="*/ 205040 h 761503"/>
                <a:gd name="connsiteX51" fmla="*/ 251274 w 353555"/>
                <a:gd name="connsiteY51" fmla="*/ 240395 h 761503"/>
                <a:gd name="connsiteX52" fmla="*/ 251274 w 353555"/>
                <a:gd name="connsiteY52" fmla="*/ 256713 h 761503"/>
                <a:gd name="connsiteX53" fmla="*/ 253994 w 353555"/>
                <a:gd name="connsiteY53" fmla="*/ 270311 h 761503"/>
                <a:gd name="connsiteX54" fmla="*/ 259433 w 353555"/>
                <a:gd name="connsiteY54" fmla="*/ 343742 h 761503"/>
                <a:gd name="connsiteX55" fmla="*/ 262153 w 353555"/>
                <a:gd name="connsiteY55" fmla="*/ 425332 h 761503"/>
                <a:gd name="connsiteX56" fmla="*/ 264872 w 353555"/>
                <a:gd name="connsiteY56" fmla="*/ 490603 h 761503"/>
                <a:gd name="connsiteX57" fmla="*/ 270312 w 353555"/>
                <a:gd name="connsiteY57" fmla="*/ 564034 h 761503"/>
                <a:gd name="connsiteX58" fmla="*/ 270312 w 353555"/>
                <a:gd name="connsiteY58" fmla="*/ 599390 h 761503"/>
                <a:gd name="connsiteX59" fmla="*/ 270312 w 353555"/>
                <a:gd name="connsiteY59" fmla="*/ 637465 h 761503"/>
                <a:gd name="connsiteX60" fmla="*/ 264872 w 353555"/>
                <a:gd name="connsiteY60" fmla="*/ 670101 h 761503"/>
                <a:gd name="connsiteX61" fmla="*/ 283910 w 353555"/>
                <a:gd name="connsiteY61" fmla="*/ 672820 h 761503"/>
                <a:gd name="connsiteX62" fmla="*/ 283910 w 353555"/>
                <a:gd name="connsiteY62" fmla="*/ 672820 h 76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53555" h="761503">
                  <a:moveTo>
                    <a:pt x="283910" y="672820"/>
                  </a:moveTo>
                  <a:cubicBezTo>
                    <a:pt x="297508" y="672820"/>
                    <a:pt x="321985" y="672820"/>
                    <a:pt x="321985" y="689138"/>
                  </a:cubicBezTo>
                  <a:cubicBezTo>
                    <a:pt x="321985" y="697297"/>
                    <a:pt x="319265" y="697297"/>
                    <a:pt x="316546" y="705456"/>
                  </a:cubicBezTo>
                  <a:cubicBezTo>
                    <a:pt x="311106" y="710895"/>
                    <a:pt x="305667" y="713615"/>
                    <a:pt x="300228" y="713615"/>
                  </a:cubicBezTo>
                  <a:cubicBezTo>
                    <a:pt x="292069" y="716335"/>
                    <a:pt x="283910" y="716335"/>
                    <a:pt x="278471" y="716335"/>
                  </a:cubicBezTo>
                  <a:cubicBezTo>
                    <a:pt x="275751" y="716335"/>
                    <a:pt x="256713" y="716335"/>
                    <a:pt x="237676" y="716335"/>
                  </a:cubicBezTo>
                  <a:cubicBezTo>
                    <a:pt x="213199" y="716335"/>
                    <a:pt x="186002" y="719054"/>
                    <a:pt x="180563" y="719054"/>
                  </a:cubicBezTo>
                  <a:cubicBezTo>
                    <a:pt x="166965" y="719054"/>
                    <a:pt x="142488" y="719054"/>
                    <a:pt x="126170" y="719054"/>
                  </a:cubicBezTo>
                  <a:cubicBezTo>
                    <a:pt x="118011" y="719054"/>
                    <a:pt x="109852" y="719054"/>
                    <a:pt x="101693" y="719054"/>
                  </a:cubicBezTo>
                  <a:cubicBezTo>
                    <a:pt x="93534" y="719054"/>
                    <a:pt x="82655" y="719054"/>
                    <a:pt x="74496" y="713615"/>
                  </a:cubicBezTo>
                  <a:cubicBezTo>
                    <a:pt x="66337" y="710895"/>
                    <a:pt x="58178" y="702736"/>
                    <a:pt x="58178" y="697297"/>
                  </a:cubicBezTo>
                  <a:cubicBezTo>
                    <a:pt x="58178" y="694578"/>
                    <a:pt x="58178" y="691858"/>
                    <a:pt x="63617" y="689138"/>
                  </a:cubicBezTo>
                  <a:cubicBezTo>
                    <a:pt x="69057" y="686418"/>
                    <a:pt x="79935" y="683699"/>
                    <a:pt x="85375" y="680979"/>
                  </a:cubicBezTo>
                  <a:cubicBezTo>
                    <a:pt x="104412" y="678260"/>
                    <a:pt x="123450" y="675540"/>
                    <a:pt x="131609" y="675540"/>
                  </a:cubicBezTo>
                  <a:cubicBezTo>
                    <a:pt x="134329" y="675540"/>
                    <a:pt x="137048" y="675540"/>
                    <a:pt x="142488" y="675540"/>
                  </a:cubicBezTo>
                  <a:cubicBezTo>
                    <a:pt x="134329" y="670101"/>
                    <a:pt x="131609" y="661942"/>
                    <a:pt x="131609" y="653783"/>
                  </a:cubicBezTo>
                  <a:cubicBezTo>
                    <a:pt x="131609" y="648343"/>
                    <a:pt x="131609" y="642904"/>
                    <a:pt x="128889" y="640184"/>
                  </a:cubicBezTo>
                  <a:cubicBezTo>
                    <a:pt x="128889" y="637465"/>
                    <a:pt x="128889" y="634745"/>
                    <a:pt x="128889" y="629306"/>
                  </a:cubicBezTo>
                  <a:cubicBezTo>
                    <a:pt x="128889" y="626586"/>
                    <a:pt x="128889" y="623867"/>
                    <a:pt x="128889" y="621147"/>
                  </a:cubicBezTo>
                  <a:cubicBezTo>
                    <a:pt x="128889" y="612988"/>
                    <a:pt x="128889" y="604829"/>
                    <a:pt x="128889" y="593950"/>
                  </a:cubicBezTo>
                  <a:cubicBezTo>
                    <a:pt x="128889" y="591231"/>
                    <a:pt x="128889" y="585791"/>
                    <a:pt x="128889" y="583072"/>
                  </a:cubicBezTo>
                  <a:cubicBezTo>
                    <a:pt x="128889" y="534118"/>
                    <a:pt x="131609" y="485164"/>
                    <a:pt x="128889" y="436210"/>
                  </a:cubicBezTo>
                  <a:cubicBezTo>
                    <a:pt x="128889" y="409014"/>
                    <a:pt x="128889" y="384537"/>
                    <a:pt x="128889" y="357340"/>
                  </a:cubicBezTo>
                  <a:cubicBezTo>
                    <a:pt x="128889" y="335583"/>
                    <a:pt x="131609" y="313826"/>
                    <a:pt x="131609" y="289349"/>
                  </a:cubicBezTo>
                  <a:cubicBezTo>
                    <a:pt x="131609" y="275751"/>
                    <a:pt x="131609" y="264872"/>
                    <a:pt x="131609" y="251274"/>
                  </a:cubicBezTo>
                  <a:cubicBezTo>
                    <a:pt x="131609" y="234956"/>
                    <a:pt x="131609" y="221357"/>
                    <a:pt x="131609" y="205040"/>
                  </a:cubicBezTo>
                  <a:cubicBezTo>
                    <a:pt x="131609" y="183282"/>
                    <a:pt x="131609" y="161525"/>
                    <a:pt x="131609" y="139768"/>
                  </a:cubicBezTo>
                  <a:cubicBezTo>
                    <a:pt x="131609" y="137048"/>
                    <a:pt x="131609" y="134329"/>
                    <a:pt x="131609" y="128889"/>
                  </a:cubicBezTo>
                  <a:cubicBezTo>
                    <a:pt x="128889" y="128889"/>
                    <a:pt x="126170" y="128889"/>
                    <a:pt x="126170" y="128889"/>
                  </a:cubicBezTo>
                  <a:cubicBezTo>
                    <a:pt x="118011" y="128889"/>
                    <a:pt x="109852" y="128889"/>
                    <a:pt x="101693" y="128889"/>
                  </a:cubicBezTo>
                  <a:cubicBezTo>
                    <a:pt x="93534" y="128889"/>
                    <a:pt x="82655" y="128889"/>
                    <a:pt x="74496" y="123450"/>
                  </a:cubicBezTo>
                  <a:cubicBezTo>
                    <a:pt x="66337" y="120730"/>
                    <a:pt x="58178" y="112571"/>
                    <a:pt x="58178" y="107132"/>
                  </a:cubicBezTo>
                  <a:cubicBezTo>
                    <a:pt x="58178" y="104412"/>
                    <a:pt x="58178" y="101693"/>
                    <a:pt x="60898" y="98973"/>
                  </a:cubicBezTo>
                  <a:cubicBezTo>
                    <a:pt x="63617" y="96253"/>
                    <a:pt x="77216" y="93534"/>
                    <a:pt x="82655" y="93534"/>
                  </a:cubicBezTo>
                  <a:cubicBezTo>
                    <a:pt x="98973" y="90814"/>
                    <a:pt x="123450" y="88094"/>
                    <a:pt x="131609" y="88094"/>
                  </a:cubicBezTo>
                  <a:cubicBezTo>
                    <a:pt x="131609" y="85375"/>
                    <a:pt x="131609" y="85375"/>
                    <a:pt x="131609" y="82655"/>
                  </a:cubicBezTo>
                  <a:cubicBezTo>
                    <a:pt x="131609" y="77216"/>
                    <a:pt x="131609" y="74496"/>
                    <a:pt x="134329" y="71776"/>
                  </a:cubicBezTo>
                  <a:cubicBezTo>
                    <a:pt x="137048" y="69057"/>
                    <a:pt x="145207" y="66337"/>
                    <a:pt x="147927" y="63617"/>
                  </a:cubicBezTo>
                  <a:cubicBezTo>
                    <a:pt x="153366" y="60898"/>
                    <a:pt x="158806" y="58178"/>
                    <a:pt x="164245" y="58178"/>
                  </a:cubicBezTo>
                  <a:cubicBezTo>
                    <a:pt x="169684" y="58178"/>
                    <a:pt x="175123" y="58178"/>
                    <a:pt x="177843" y="58178"/>
                  </a:cubicBezTo>
                  <a:cubicBezTo>
                    <a:pt x="183283" y="58178"/>
                    <a:pt x="191442" y="58178"/>
                    <a:pt x="196881" y="60898"/>
                  </a:cubicBezTo>
                  <a:cubicBezTo>
                    <a:pt x="213199" y="63617"/>
                    <a:pt x="224077" y="74496"/>
                    <a:pt x="232236" y="88094"/>
                  </a:cubicBezTo>
                  <a:cubicBezTo>
                    <a:pt x="253994" y="88094"/>
                    <a:pt x="270312" y="88094"/>
                    <a:pt x="278471" y="88094"/>
                  </a:cubicBezTo>
                  <a:cubicBezTo>
                    <a:pt x="292069" y="88094"/>
                    <a:pt x="316546" y="88094"/>
                    <a:pt x="316546" y="104412"/>
                  </a:cubicBezTo>
                  <a:cubicBezTo>
                    <a:pt x="316546" y="112571"/>
                    <a:pt x="313826" y="112571"/>
                    <a:pt x="311106" y="120730"/>
                  </a:cubicBezTo>
                  <a:cubicBezTo>
                    <a:pt x="305667" y="126170"/>
                    <a:pt x="300228" y="128889"/>
                    <a:pt x="294788" y="128889"/>
                  </a:cubicBezTo>
                  <a:cubicBezTo>
                    <a:pt x="286630" y="131609"/>
                    <a:pt x="278471" y="131609"/>
                    <a:pt x="273031" y="131609"/>
                  </a:cubicBezTo>
                  <a:cubicBezTo>
                    <a:pt x="270312" y="131609"/>
                    <a:pt x="259433" y="131609"/>
                    <a:pt x="243115" y="131609"/>
                  </a:cubicBezTo>
                  <a:lnTo>
                    <a:pt x="243115" y="134329"/>
                  </a:lnTo>
                  <a:cubicBezTo>
                    <a:pt x="245835" y="145207"/>
                    <a:pt x="245835" y="158805"/>
                    <a:pt x="248554" y="169684"/>
                  </a:cubicBezTo>
                  <a:cubicBezTo>
                    <a:pt x="251274" y="180563"/>
                    <a:pt x="251274" y="194161"/>
                    <a:pt x="251274" y="205040"/>
                  </a:cubicBezTo>
                  <a:cubicBezTo>
                    <a:pt x="251274" y="215918"/>
                    <a:pt x="251274" y="226797"/>
                    <a:pt x="251274" y="240395"/>
                  </a:cubicBezTo>
                  <a:cubicBezTo>
                    <a:pt x="251274" y="245834"/>
                    <a:pt x="251274" y="251274"/>
                    <a:pt x="251274" y="256713"/>
                  </a:cubicBezTo>
                  <a:cubicBezTo>
                    <a:pt x="251274" y="262152"/>
                    <a:pt x="251274" y="267592"/>
                    <a:pt x="253994" y="270311"/>
                  </a:cubicBezTo>
                  <a:cubicBezTo>
                    <a:pt x="256713" y="294788"/>
                    <a:pt x="256713" y="319265"/>
                    <a:pt x="259433" y="343742"/>
                  </a:cubicBezTo>
                  <a:cubicBezTo>
                    <a:pt x="259433" y="370939"/>
                    <a:pt x="262153" y="398135"/>
                    <a:pt x="262153" y="425332"/>
                  </a:cubicBezTo>
                  <a:cubicBezTo>
                    <a:pt x="262153" y="447089"/>
                    <a:pt x="262153" y="468846"/>
                    <a:pt x="264872" y="490603"/>
                  </a:cubicBezTo>
                  <a:cubicBezTo>
                    <a:pt x="264872" y="515080"/>
                    <a:pt x="270312" y="539557"/>
                    <a:pt x="270312" y="564034"/>
                  </a:cubicBezTo>
                  <a:cubicBezTo>
                    <a:pt x="270312" y="574913"/>
                    <a:pt x="270312" y="588511"/>
                    <a:pt x="270312" y="599390"/>
                  </a:cubicBezTo>
                  <a:cubicBezTo>
                    <a:pt x="270312" y="612988"/>
                    <a:pt x="270312" y="623867"/>
                    <a:pt x="270312" y="637465"/>
                  </a:cubicBezTo>
                  <a:cubicBezTo>
                    <a:pt x="270312" y="648343"/>
                    <a:pt x="270312" y="661942"/>
                    <a:pt x="264872" y="670101"/>
                  </a:cubicBezTo>
                  <a:cubicBezTo>
                    <a:pt x="273031" y="672820"/>
                    <a:pt x="278471" y="672820"/>
                    <a:pt x="283910" y="672820"/>
                  </a:cubicBezTo>
                  <a:lnTo>
                    <a:pt x="283910" y="672820"/>
                  </a:lnTo>
                  <a:close/>
                </a:path>
              </a:pathLst>
            </a:custGeom>
            <a:grpFill/>
            <a:ln w="27168"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0CBBFAF5-5EA3-4F21-B59A-E739E2E37894}"/>
                </a:ext>
              </a:extLst>
            </p:cNvPr>
            <p:cNvSpPr/>
            <p:nvPr/>
          </p:nvSpPr>
          <p:spPr>
            <a:xfrm>
              <a:off x="4620880" y="4194877"/>
              <a:ext cx="598325" cy="761503"/>
            </a:xfrm>
            <a:custGeom>
              <a:avLst/>
              <a:gdLst>
                <a:gd name="connsiteX0" fmla="*/ 515081 w 598324"/>
                <a:gd name="connsiteY0" fmla="*/ 79935 h 761503"/>
                <a:gd name="connsiteX1" fmla="*/ 542277 w 598324"/>
                <a:gd name="connsiteY1" fmla="*/ 96253 h 761503"/>
                <a:gd name="connsiteX2" fmla="*/ 536838 w 598324"/>
                <a:gd name="connsiteY2" fmla="*/ 112571 h 761503"/>
                <a:gd name="connsiteX3" fmla="*/ 523240 w 598324"/>
                <a:gd name="connsiteY3" fmla="*/ 120730 h 761503"/>
                <a:gd name="connsiteX4" fmla="*/ 506922 w 598324"/>
                <a:gd name="connsiteY4" fmla="*/ 123450 h 761503"/>
                <a:gd name="connsiteX5" fmla="*/ 477006 w 598324"/>
                <a:gd name="connsiteY5" fmla="*/ 123450 h 761503"/>
                <a:gd name="connsiteX6" fmla="*/ 479725 w 598324"/>
                <a:gd name="connsiteY6" fmla="*/ 145207 h 761503"/>
                <a:gd name="connsiteX7" fmla="*/ 477006 w 598324"/>
                <a:gd name="connsiteY7" fmla="*/ 180563 h 761503"/>
                <a:gd name="connsiteX8" fmla="*/ 482445 w 598324"/>
                <a:gd name="connsiteY8" fmla="*/ 232236 h 761503"/>
                <a:gd name="connsiteX9" fmla="*/ 485165 w 598324"/>
                <a:gd name="connsiteY9" fmla="*/ 283909 h 761503"/>
                <a:gd name="connsiteX10" fmla="*/ 485165 w 598324"/>
                <a:gd name="connsiteY10" fmla="*/ 327424 h 761503"/>
                <a:gd name="connsiteX11" fmla="*/ 487884 w 598324"/>
                <a:gd name="connsiteY11" fmla="*/ 373658 h 761503"/>
                <a:gd name="connsiteX12" fmla="*/ 485165 w 598324"/>
                <a:gd name="connsiteY12" fmla="*/ 419892 h 761503"/>
                <a:gd name="connsiteX13" fmla="*/ 485165 w 598324"/>
                <a:gd name="connsiteY13" fmla="*/ 463407 h 761503"/>
                <a:gd name="connsiteX14" fmla="*/ 482445 w 598324"/>
                <a:gd name="connsiteY14" fmla="*/ 515080 h 761503"/>
                <a:gd name="connsiteX15" fmla="*/ 482445 w 598324"/>
                <a:gd name="connsiteY15" fmla="*/ 558595 h 761503"/>
                <a:gd name="connsiteX16" fmla="*/ 479725 w 598324"/>
                <a:gd name="connsiteY16" fmla="*/ 602109 h 761503"/>
                <a:gd name="connsiteX17" fmla="*/ 485165 w 598324"/>
                <a:gd name="connsiteY17" fmla="*/ 648343 h 761503"/>
                <a:gd name="connsiteX18" fmla="*/ 474286 w 598324"/>
                <a:gd name="connsiteY18" fmla="*/ 675540 h 761503"/>
                <a:gd name="connsiteX19" fmla="*/ 428052 w 598324"/>
                <a:gd name="connsiteY19" fmla="*/ 691858 h 761503"/>
                <a:gd name="connsiteX20" fmla="*/ 387257 w 598324"/>
                <a:gd name="connsiteY20" fmla="*/ 683699 h 761503"/>
                <a:gd name="connsiteX21" fmla="*/ 351901 w 598324"/>
                <a:gd name="connsiteY21" fmla="*/ 664661 h 761503"/>
                <a:gd name="connsiteX22" fmla="*/ 305667 w 598324"/>
                <a:gd name="connsiteY22" fmla="*/ 596670 h 761503"/>
                <a:gd name="connsiteX23" fmla="*/ 270312 w 598324"/>
                <a:gd name="connsiteY23" fmla="*/ 509641 h 761503"/>
                <a:gd name="connsiteX24" fmla="*/ 251274 w 598324"/>
                <a:gd name="connsiteY24" fmla="*/ 460687 h 761503"/>
                <a:gd name="connsiteX25" fmla="*/ 224077 w 598324"/>
                <a:gd name="connsiteY25" fmla="*/ 381817 h 761503"/>
                <a:gd name="connsiteX26" fmla="*/ 207759 w 598324"/>
                <a:gd name="connsiteY26" fmla="*/ 330144 h 761503"/>
                <a:gd name="connsiteX27" fmla="*/ 191442 w 598324"/>
                <a:gd name="connsiteY27" fmla="*/ 286629 h 761503"/>
                <a:gd name="connsiteX28" fmla="*/ 183283 w 598324"/>
                <a:gd name="connsiteY28" fmla="*/ 278470 h 761503"/>
                <a:gd name="connsiteX29" fmla="*/ 180563 w 598324"/>
                <a:gd name="connsiteY29" fmla="*/ 292068 h 761503"/>
                <a:gd name="connsiteX30" fmla="*/ 180563 w 598324"/>
                <a:gd name="connsiteY30" fmla="*/ 305667 h 761503"/>
                <a:gd name="connsiteX31" fmla="*/ 183283 w 598324"/>
                <a:gd name="connsiteY31" fmla="*/ 354620 h 761503"/>
                <a:gd name="connsiteX32" fmla="*/ 188722 w 598324"/>
                <a:gd name="connsiteY32" fmla="*/ 449808 h 761503"/>
                <a:gd name="connsiteX33" fmla="*/ 188722 w 598324"/>
                <a:gd name="connsiteY33" fmla="*/ 479725 h 761503"/>
                <a:gd name="connsiteX34" fmla="*/ 188722 w 598324"/>
                <a:gd name="connsiteY34" fmla="*/ 542277 h 761503"/>
                <a:gd name="connsiteX35" fmla="*/ 186002 w 598324"/>
                <a:gd name="connsiteY35" fmla="*/ 615708 h 761503"/>
                <a:gd name="connsiteX36" fmla="*/ 186002 w 598324"/>
                <a:gd name="connsiteY36" fmla="*/ 637465 h 761503"/>
                <a:gd name="connsiteX37" fmla="*/ 183283 w 598324"/>
                <a:gd name="connsiteY37" fmla="*/ 664661 h 761503"/>
                <a:gd name="connsiteX38" fmla="*/ 226797 w 598324"/>
                <a:gd name="connsiteY38" fmla="*/ 664661 h 761503"/>
                <a:gd name="connsiteX39" fmla="*/ 253994 w 598324"/>
                <a:gd name="connsiteY39" fmla="*/ 680979 h 761503"/>
                <a:gd name="connsiteX40" fmla="*/ 248554 w 598324"/>
                <a:gd name="connsiteY40" fmla="*/ 697297 h 761503"/>
                <a:gd name="connsiteX41" fmla="*/ 234956 w 598324"/>
                <a:gd name="connsiteY41" fmla="*/ 705456 h 761503"/>
                <a:gd name="connsiteX42" fmla="*/ 218638 w 598324"/>
                <a:gd name="connsiteY42" fmla="*/ 708176 h 761503"/>
                <a:gd name="connsiteX43" fmla="*/ 183283 w 598324"/>
                <a:gd name="connsiteY43" fmla="*/ 708176 h 761503"/>
                <a:gd name="connsiteX44" fmla="*/ 150647 w 598324"/>
                <a:gd name="connsiteY44" fmla="*/ 708176 h 761503"/>
                <a:gd name="connsiteX45" fmla="*/ 107132 w 598324"/>
                <a:gd name="connsiteY45" fmla="*/ 708176 h 761503"/>
                <a:gd name="connsiteX46" fmla="*/ 88094 w 598324"/>
                <a:gd name="connsiteY46" fmla="*/ 708176 h 761503"/>
                <a:gd name="connsiteX47" fmla="*/ 69057 w 598324"/>
                <a:gd name="connsiteY47" fmla="*/ 702736 h 761503"/>
                <a:gd name="connsiteX48" fmla="*/ 58178 w 598324"/>
                <a:gd name="connsiteY48" fmla="*/ 686418 h 761503"/>
                <a:gd name="connsiteX49" fmla="*/ 60898 w 598324"/>
                <a:gd name="connsiteY49" fmla="*/ 678259 h 761503"/>
                <a:gd name="connsiteX50" fmla="*/ 77216 w 598324"/>
                <a:gd name="connsiteY50" fmla="*/ 670101 h 761503"/>
                <a:gd name="connsiteX51" fmla="*/ 120730 w 598324"/>
                <a:gd name="connsiteY51" fmla="*/ 664661 h 761503"/>
                <a:gd name="connsiteX52" fmla="*/ 131609 w 598324"/>
                <a:gd name="connsiteY52" fmla="*/ 664661 h 761503"/>
                <a:gd name="connsiteX53" fmla="*/ 134329 w 598324"/>
                <a:gd name="connsiteY53" fmla="*/ 539557 h 761503"/>
                <a:gd name="connsiteX54" fmla="*/ 134329 w 598324"/>
                <a:gd name="connsiteY54" fmla="*/ 504201 h 761503"/>
                <a:gd name="connsiteX55" fmla="*/ 131609 w 598324"/>
                <a:gd name="connsiteY55" fmla="*/ 376378 h 761503"/>
                <a:gd name="connsiteX56" fmla="*/ 131609 w 598324"/>
                <a:gd name="connsiteY56" fmla="*/ 302947 h 761503"/>
                <a:gd name="connsiteX57" fmla="*/ 134329 w 598324"/>
                <a:gd name="connsiteY57" fmla="*/ 221357 h 761503"/>
                <a:gd name="connsiteX58" fmla="*/ 137048 w 598324"/>
                <a:gd name="connsiteY58" fmla="*/ 123450 h 761503"/>
                <a:gd name="connsiteX59" fmla="*/ 107132 w 598324"/>
                <a:gd name="connsiteY59" fmla="*/ 123450 h 761503"/>
                <a:gd name="connsiteX60" fmla="*/ 88094 w 598324"/>
                <a:gd name="connsiteY60" fmla="*/ 123450 h 761503"/>
                <a:gd name="connsiteX61" fmla="*/ 69057 w 598324"/>
                <a:gd name="connsiteY61" fmla="*/ 118011 h 761503"/>
                <a:gd name="connsiteX62" fmla="*/ 58178 w 598324"/>
                <a:gd name="connsiteY62" fmla="*/ 101693 h 761503"/>
                <a:gd name="connsiteX63" fmla="*/ 60898 w 598324"/>
                <a:gd name="connsiteY63" fmla="*/ 93534 h 761503"/>
                <a:gd name="connsiteX64" fmla="*/ 77216 w 598324"/>
                <a:gd name="connsiteY64" fmla="*/ 85375 h 761503"/>
                <a:gd name="connsiteX65" fmla="*/ 131609 w 598324"/>
                <a:gd name="connsiteY65" fmla="*/ 79935 h 761503"/>
                <a:gd name="connsiteX66" fmla="*/ 161525 w 598324"/>
                <a:gd name="connsiteY66" fmla="*/ 79935 h 761503"/>
                <a:gd name="connsiteX67" fmla="*/ 177843 w 598324"/>
                <a:gd name="connsiteY67" fmla="*/ 66337 h 761503"/>
                <a:gd name="connsiteX68" fmla="*/ 202320 w 598324"/>
                <a:gd name="connsiteY68" fmla="*/ 58178 h 761503"/>
                <a:gd name="connsiteX69" fmla="*/ 234956 w 598324"/>
                <a:gd name="connsiteY69" fmla="*/ 77216 h 761503"/>
                <a:gd name="connsiteX70" fmla="*/ 251274 w 598324"/>
                <a:gd name="connsiteY70" fmla="*/ 107132 h 761503"/>
                <a:gd name="connsiteX71" fmla="*/ 267592 w 598324"/>
                <a:gd name="connsiteY71" fmla="*/ 147927 h 761503"/>
                <a:gd name="connsiteX72" fmla="*/ 281190 w 598324"/>
                <a:gd name="connsiteY72" fmla="*/ 183282 h 761503"/>
                <a:gd name="connsiteX73" fmla="*/ 297508 w 598324"/>
                <a:gd name="connsiteY73" fmla="*/ 224077 h 761503"/>
                <a:gd name="connsiteX74" fmla="*/ 308387 w 598324"/>
                <a:gd name="connsiteY74" fmla="*/ 264872 h 761503"/>
                <a:gd name="connsiteX75" fmla="*/ 319265 w 598324"/>
                <a:gd name="connsiteY75" fmla="*/ 300227 h 761503"/>
                <a:gd name="connsiteX76" fmla="*/ 351901 w 598324"/>
                <a:gd name="connsiteY76" fmla="*/ 379097 h 761503"/>
                <a:gd name="connsiteX77" fmla="*/ 365500 w 598324"/>
                <a:gd name="connsiteY77" fmla="*/ 417173 h 761503"/>
                <a:gd name="connsiteX78" fmla="*/ 379098 w 598324"/>
                <a:gd name="connsiteY78" fmla="*/ 457967 h 761503"/>
                <a:gd name="connsiteX79" fmla="*/ 395416 w 598324"/>
                <a:gd name="connsiteY79" fmla="*/ 496043 h 761503"/>
                <a:gd name="connsiteX80" fmla="*/ 406294 w 598324"/>
                <a:gd name="connsiteY80" fmla="*/ 512361 h 761503"/>
                <a:gd name="connsiteX81" fmla="*/ 411734 w 598324"/>
                <a:gd name="connsiteY81" fmla="*/ 531398 h 761503"/>
                <a:gd name="connsiteX82" fmla="*/ 419893 w 598324"/>
                <a:gd name="connsiteY82" fmla="*/ 558595 h 761503"/>
                <a:gd name="connsiteX83" fmla="*/ 425332 w 598324"/>
                <a:gd name="connsiteY83" fmla="*/ 564034 h 761503"/>
                <a:gd name="connsiteX84" fmla="*/ 430771 w 598324"/>
                <a:gd name="connsiteY84" fmla="*/ 558595 h 761503"/>
                <a:gd name="connsiteX85" fmla="*/ 430771 w 598324"/>
                <a:gd name="connsiteY85" fmla="*/ 550436 h 761503"/>
                <a:gd name="connsiteX86" fmla="*/ 430771 w 598324"/>
                <a:gd name="connsiteY86" fmla="*/ 501482 h 761503"/>
                <a:gd name="connsiteX87" fmla="*/ 430771 w 598324"/>
                <a:gd name="connsiteY87" fmla="*/ 403574 h 761503"/>
                <a:gd name="connsiteX88" fmla="*/ 425332 w 598324"/>
                <a:gd name="connsiteY88" fmla="*/ 313826 h 761503"/>
                <a:gd name="connsiteX89" fmla="*/ 425332 w 598324"/>
                <a:gd name="connsiteY89" fmla="*/ 248554 h 761503"/>
                <a:gd name="connsiteX90" fmla="*/ 425332 w 598324"/>
                <a:gd name="connsiteY90" fmla="*/ 210479 h 761503"/>
                <a:gd name="connsiteX91" fmla="*/ 422613 w 598324"/>
                <a:gd name="connsiteY91" fmla="*/ 153366 h 761503"/>
                <a:gd name="connsiteX92" fmla="*/ 425332 w 598324"/>
                <a:gd name="connsiteY92" fmla="*/ 123450 h 761503"/>
                <a:gd name="connsiteX93" fmla="*/ 398136 w 598324"/>
                <a:gd name="connsiteY93" fmla="*/ 123450 h 761503"/>
                <a:gd name="connsiteX94" fmla="*/ 379098 w 598324"/>
                <a:gd name="connsiteY94" fmla="*/ 123450 h 761503"/>
                <a:gd name="connsiteX95" fmla="*/ 360060 w 598324"/>
                <a:gd name="connsiteY95" fmla="*/ 118011 h 761503"/>
                <a:gd name="connsiteX96" fmla="*/ 349182 w 598324"/>
                <a:gd name="connsiteY96" fmla="*/ 101693 h 761503"/>
                <a:gd name="connsiteX97" fmla="*/ 351901 w 598324"/>
                <a:gd name="connsiteY97" fmla="*/ 93534 h 761503"/>
                <a:gd name="connsiteX98" fmla="*/ 368219 w 598324"/>
                <a:gd name="connsiteY98" fmla="*/ 85375 h 761503"/>
                <a:gd name="connsiteX99" fmla="*/ 422613 w 598324"/>
                <a:gd name="connsiteY99" fmla="*/ 79935 h 761503"/>
                <a:gd name="connsiteX100" fmla="*/ 444370 w 598324"/>
                <a:gd name="connsiteY100" fmla="*/ 79935 h 761503"/>
                <a:gd name="connsiteX101" fmla="*/ 463407 w 598324"/>
                <a:gd name="connsiteY101" fmla="*/ 71776 h 761503"/>
                <a:gd name="connsiteX102" fmla="*/ 477006 w 598324"/>
                <a:gd name="connsiteY102" fmla="*/ 79935 h 761503"/>
                <a:gd name="connsiteX103" fmla="*/ 515081 w 598324"/>
                <a:gd name="connsiteY103" fmla="*/ 79935 h 761503"/>
                <a:gd name="connsiteX104" fmla="*/ 515081 w 598324"/>
                <a:gd name="connsiteY104" fmla="*/ 79935 h 76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598324" h="761503">
                  <a:moveTo>
                    <a:pt x="515081" y="79935"/>
                  </a:moveTo>
                  <a:cubicBezTo>
                    <a:pt x="523240" y="79935"/>
                    <a:pt x="542277" y="79935"/>
                    <a:pt x="542277" y="96253"/>
                  </a:cubicBezTo>
                  <a:cubicBezTo>
                    <a:pt x="542277" y="104412"/>
                    <a:pt x="542277" y="107132"/>
                    <a:pt x="536838" y="112571"/>
                  </a:cubicBezTo>
                  <a:cubicBezTo>
                    <a:pt x="534119" y="118011"/>
                    <a:pt x="528679" y="120730"/>
                    <a:pt x="523240" y="120730"/>
                  </a:cubicBezTo>
                  <a:cubicBezTo>
                    <a:pt x="515081" y="123450"/>
                    <a:pt x="512361" y="123450"/>
                    <a:pt x="506922" y="123450"/>
                  </a:cubicBezTo>
                  <a:cubicBezTo>
                    <a:pt x="504202" y="123450"/>
                    <a:pt x="490604" y="123450"/>
                    <a:pt x="477006" y="123450"/>
                  </a:cubicBezTo>
                  <a:cubicBezTo>
                    <a:pt x="477006" y="131609"/>
                    <a:pt x="479725" y="137048"/>
                    <a:pt x="479725" y="145207"/>
                  </a:cubicBezTo>
                  <a:cubicBezTo>
                    <a:pt x="479725" y="156086"/>
                    <a:pt x="477006" y="166964"/>
                    <a:pt x="477006" y="180563"/>
                  </a:cubicBezTo>
                  <a:cubicBezTo>
                    <a:pt x="477006" y="196881"/>
                    <a:pt x="479725" y="215918"/>
                    <a:pt x="482445" y="232236"/>
                  </a:cubicBezTo>
                  <a:cubicBezTo>
                    <a:pt x="485165" y="248554"/>
                    <a:pt x="485165" y="267592"/>
                    <a:pt x="485165" y="283909"/>
                  </a:cubicBezTo>
                  <a:cubicBezTo>
                    <a:pt x="485165" y="297508"/>
                    <a:pt x="485165" y="313826"/>
                    <a:pt x="485165" y="327424"/>
                  </a:cubicBezTo>
                  <a:cubicBezTo>
                    <a:pt x="485165" y="343742"/>
                    <a:pt x="487884" y="357340"/>
                    <a:pt x="487884" y="373658"/>
                  </a:cubicBezTo>
                  <a:cubicBezTo>
                    <a:pt x="487884" y="389976"/>
                    <a:pt x="485165" y="403574"/>
                    <a:pt x="485165" y="419892"/>
                  </a:cubicBezTo>
                  <a:cubicBezTo>
                    <a:pt x="485165" y="436210"/>
                    <a:pt x="485165" y="449808"/>
                    <a:pt x="485165" y="463407"/>
                  </a:cubicBezTo>
                  <a:cubicBezTo>
                    <a:pt x="485165" y="479725"/>
                    <a:pt x="485165" y="498762"/>
                    <a:pt x="482445" y="515080"/>
                  </a:cubicBezTo>
                  <a:cubicBezTo>
                    <a:pt x="482445" y="528678"/>
                    <a:pt x="482445" y="542277"/>
                    <a:pt x="482445" y="558595"/>
                  </a:cubicBezTo>
                  <a:cubicBezTo>
                    <a:pt x="482445" y="572193"/>
                    <a:pt x="479725" y="588511"/>
                    <a:pt x="479725" y="602109"/>
                  </a:cubicBezTo>
                  <a:cubicBezTo>
                    <a:pt x="479725" y="615708"/>
                    <a:pt x="485165" y="632025"/>
                    <a:pt x="485165" y="648343"/>
                  </a:cubicBezTo>
                  <a:cubicBezTo>
                    <a:pt x="485165" y="659222"/>
                    <a:pt x="482445" y="670101"/>
                    <a:pt x="474286" y="675540"/>
                  </a:cubicBezTo>
                  <a:cubicBezTo>
                    <a:pt x="460688" y="686418"/>
                    <a:pt x="444370" y="691858"/>
                    <a:pt x="428052" y="691858"/>
                  </a:cubicBezTo>
                  <a:cubicBezTo>
                    <a:pt x="414453" y="691858"/>
                    <a:pt x="400855" y="689138"/>
                    <a:pt x="387257" y="683699"/>
                  </a:cubicBezTo>
                  <a:cubicBezTo>
                    <a:pt x="373659" y="678259"/>
                    <a:pt x="360060" y="672820"/>
                    <a:pt x="351901" y="664661"/>
                  </a:cubicBezTo>
                  <a:cubicBezTo>
                    <a:pt x="330144" y="645624"/>
                    <a:pt x="316546" y="621147"/>
                    <a:pt x="305667" y="596670"/>
                  </a:cubicBezTo>
                  <a:cubicBezTo>
                    <a:pt x="292069" y="569473"/>
                    <a:pt x="281190" y="539557"/>
                    <a:pt x="270312" y="509641"/>
                  </a:cubicBezTo>
                  <a:cubicBezTo>
                    <a:pt x="264872" y="493323"/>
                    <a:pt x="256713" y="477005"/>
                    <a:pt x="251274" y="460687"/>
                  </a:cubicBezTo>
                  <a:cubicBezTo>
                    <a:pt x="240395" y="433490"/>
                    <a:pt x="232236" y="409014"/>
                    <a:pt x="224077" y="381817"/>
                  </a:cubicBezTo>
                  <a:cubicBezTo>
                    <a:pt x="218638" y="365499"/>
                    <a:pt x="213199" y="346462"/>
                    <a:pt x="207759" y="330144"/>
                  </a:cubicBezTo>
                  <a:cubicBezTo>
                    <a:pt x="202320" y="316545"/>
                    <a:pt x="196881" y="300227"/>
                    <a:pt x="191442" y="286629"/>
                  </a:cubicBezTo>
                  <a:cubicBezTo>
                    <a:pt x="188722" y="281190"/>
                    <a:pt x="186002" y="278470"/>
                    <a:pt x="183283" y="278470"/>
                  </a:cubicBezTo>
                  <a:cubicBezTo>
                    <a:pt x="180563" y="278470"/>
                    <a:pt x="180563" y="286629"/>
                    <a:pt x="180563" y="292068"/>
                  </a:cubicBezTo>
                  <a:cubicBezTo>
                    <a:pt x="180563" y="297508"/>
                    <a:pt x="180563" y="302947"/>
                    <a:pt x="180563" y="305667"/>
                  </a:cubicBezTo>
                  <a:cubicBezTo>
                    <a:pt x="180563" y="321985"/>
                    <a:pt x="183283" y="338303"/>
                    <a:pt x="183283" y="354620"/>
                  </a:cubicBezTo>
                  <a:cubicBezTo>
                    <a:pt x="183283" y="387256"/>
                    <a:pt x="186002" y="417173"/>
                    <a:pt x="188722" y="449808"/>
                  </a:cubicBezTo>
                  <a:cubicBezTo>
                    <a:pt x="188722" y="460687"/>
                    <a:pt x="188722" y="468846"/>
                    <a:pt x="188722" y="479725"/>
                  </a:cubicBezTo>
                  <a:cubicBezTo>
                    <a:pt x="188722" y="501482"/>
                    <a:pt x="188722" y="523239"/>
                    <a:pt x="188722" y="542277"/>
                  </a:cubicBezTo>
                  <a:cubicBezTo>
                    <a:pt x="188722" y="566754"/>
                    <a:pt x="186002" y="591231"/>
                    <a:pt x="186002" y="615708"/>
                  </a:cubicBezTo>
                  <a:cubicBezTo>
                    <a:pt x="186002" y="623866"/>
                    <a:pt x="186002" y="632025"/>
                    <a:pt x="186002" y="637465"/>
                  </a:cubicBezTo>
                  <a:cubicBezTo>
                    <a:pt x="186002" y="645624"/>
                    <a:pt x="183283" y="656502"/>
                    <a:pt x="183283" y="664661"/>
                  </a:cubicBezTo>
                  <a:cubicBezTo>
                    <a:pt x="202320" y="664661"/>
                    <a:pt x="218638" y="664661"/>
                    <a:pt x="226797" y="664661"/>
                  </a:cubicBezTo>
                  <a:cubicBezTo>
                    <a:pt x="234956" y="664661"/>
                    <a:pt x="253994" y="664661"/>
                    <a:pt x="253994" y="680979"/>
                  </a:cubicBezTo>
                  <a:cubicBezTo>
                    <a:pt x="253994" y="689138"/>
                    <a:pt x="253994" y="691858"/>
                    <a:pt x="248554" y="697297"/>
                  </a:cubicBezTo>
                  <a:cubicBezTo>
                    <a:pt x="245835" y="702736"/>
                    <a:pt x="240395" y="705456"/>
                    <a:pt x="234956" y="705456"/>
                  </a:cubicBezTo>
                  <a:cubicBezTo>
                    <a:pt x="226797" y="708176"/>
                    <a:pt x="224077" y="708176"/>
                    <a:pt x="218638" y="708176"/>
                  </a:cubicBezTo>
                  <a:cubicBezTo>
                    <a:pt x="215918" y="708176"/>
                    <a:pt x="199600" y="708176"/>
                    <a:pt x="183283" y="708176"/>
                  </a:cubicBezTo>
                  <a:cubicBezTo>
                    <a:pt x="166965" y="708176"/>
                    <a:pt x="153366" y="708176"/>
                    <a:pt x="150647" y="708176"/>
                  </a:cubicBezTo>
                  <a:cubicBezTo>
                    <a:pt x="139768" y="708176"/>
                    <a:pt x="120730" y="708176"/>
                    <a:pt x="107132" y="708176"/>
                  </a:cubicBezTo>
                  <a:cubicBezTo>
                    <a:pt x="101693" y="708176"/>
                    <a:pt x="96254" y="708176"/>
                    <a:pt x="88094" y="708176"/>
                  </a:cubicBezTo>
                  <a:cubicBezTo>
                    <a:pt x="82655" y="708176"/>
                    <a:pt x="74496" y="708176"/>
                    <a:pt x="69057" y="702736"/>
                  </a:cubicBezTo>
                  <a:cubicBezTo>
                    <a:pt x="63617" y="700017"/>
                    <a:pt x="58178" y="691858"/>
                    <a:pt x="58178" y="686418"/>
                  </a:cubicBezTo>
                  <a:cubicBezTo>
                    <a:pt x="58178" y="683699"/>
                    <a:pt x="58178" y="680979"/>
                    <a:pt x="60898" y="678259"/>
                  </a:cubicBezTo>
                  <a:cubicBezTo>
                    <a:pt x="63617" y="675540"/>
                    <a:pt x="71777" y="672820"/>
                    <a:pt x="77216" y="670101"/>
                  </a:cubicBezTo>
                  <a:cubicBezTo>
                    <a:pt x="90814" y="667381"/>
                    <a:pt x="115291" y="664661"/>
                    <a:pt x="120730" y="664661"/>
                  </a:cubicBezTo>
                  <a:cubicBezTo>
                    <a:pt x="123450" y="664661"/>
                    <a:pt x="126170" y="664661"/>
                    <a:pt x="131609" y="664661"/>
                  </a:cubicBezTo>
                  <a:cubicBezTo>
                    <a:pt x="131609" y="623866"/>
                    <a:pt x="134329" y="583072"/>
                    <a:pt x="134329" y="539557"/>
                  </a:cubicBezTo>
                  <a:cubicBezTo>
                    <a:pt x="134329" y="528678"/>
                    <a:pt x="134329" y="515080"/>
                    <a:pt x="134329" y="504201"/>
                  </a:cubicBezTo>
                  <a:cubicBezTo>
                    <a:pt x="131609" y="460687"/>
                    <a:pt x="131609" y="417173"/>
                    <a:pt x="131609" y="376378"/>
                  </a:cubicBezTo>
                  <a:cubicBezTo>
                    <a:pt x="131609" y="351901"/>
                    <a:pt x="131609" y="327424"/>
                    <a:pt x="131609" y="302947"/>
                  </a:cubicBezTo>
                  <a:cubicBezTo>
                    <a:pt x="131609" y="275751"/>
                    <a:pt x="131609" y="248554"/>
                    <a:pt x="134329" y="221357"/>
                  </a:cubicBezTo>
                  <a:cubicBezTo>
                    <a:pt x="134329" y="188722"/>
                    <a:pt x="137048" y="156086"/>
                    <a:pt x="137048" y="123450"/>
                  </a:cubicBezTo>
                  <a:cubicBezTo>
                    <a:pt x="126170" y="123450"/>
                    <a:pt x="115291" y="123450"/>
                    <a:pt x="107132" y="123450"/>
                  </a:cubicBezTo>
                  <a:cubicBezTo>
                    <a:pt x="101693" y="123450"/>
                    <a:pt x="96254" y="123450"/>
                    <a:pt x="88094" y="123450"/>
                  </a:cubicBezTo>
                  <a:cubicBezTo>
                    <a:pt x="82655" y="123450"/>
                    <a:pt x="74496" y="120730"/>
                    <a:pt x="69057" y="118011"/>
                  </a:cubicBezTo>
                  <a:cubicBezTo>
                    <a:pt x="63617" y="115291"/>
                    <a:pt x="58178" y="107132"/>
                    <a:pt x="58178" y="101693"/>
                  </a:cubicBezTo>
                  <a:cubicBezTo>
                    <a:pt x="58178" y="98973"/>
                    <a:pt x="58178" y="96253"/>
                    <a:pt x="60898" y="93534"/>
                  </a:cubicBezTo>
                  <a:cubicBezTo>
                    <a:pt x="63617" y="90814"/>
                    <a:pt x="71777" y="88094"/>
                    <a:pt x="77216" y="85375"/>
                  </a:cubicBezTo>
                  <a:cubicBezTo>
                    <a:pt x="90814" y="82655"/>
                    <a:pt x="126170" y="79935"/>
                    <a:pt x="131609" y="79935"/>
                  </a:cubicBezTo>
                  <a:cubicBezTo>
                    <a:pt x="137048" y="79935"/>
                    <a:pt x="147927" y="79935"/>
                    <a:pt x="161525" y="79935"/>
                  </a:cubicBezTo>
                  <a:cubicBezTo>
                    <a:pt x="166965" y="74496"/>
                    <a:pt x="172404" y="71776"/>
                    <a:pt x="177843" y="66337"/>
                  </a:cubicBezTo>
                  <a:cubicBezTo>
                    <a:pt x="186002" y="60898"/>
                    <a:pt x="194161" y="58178"/>
                    <a:pt x="202320" y="58178"/>
                  </a:cubicBezTo>
                  <a:cubicBezTo>
                    <a:pt x="215918" y="58178"/>
                    <a:pt x="226797" y="63617"/>
                    <a:pt x="234956" y="77216"/>
                  </a:cubicBezTo>
                  <a:cubicBezTo>
                    <a:pt x="240395" y="88094"/>
                    <a:pt x="248554" y="96253"/>
                    <a:pt x="251274" y="107132"/>
                  </a:cubicBezTo>
                  <a:cubicBezTo>
                    <a:pt x="256713" y="120730"/>
                    <a:pt x="259433" y="134328"/>
                    <a:pt x="267592" y="147927"/>
                  </a:cubicBezTo>
                  <a:cubicBezTo>
                    <a:pt x="273031" y="158805"/>
                    <a:pt x="275751" y="172404"/>
                    <a:pt x="281190" y="183282"/>
                  </a:cubicBezTo>
                  <a:cubicBezTo>
                    <a:pt x="286630" y="196881"/>
                    <a:pt x="292069" y="210479"/>
                    <a:pt x="297508" y="224077"/>
                  </a:cubicBezTo>
                  <a:cubicBezTo>
                    <a:pt x="300228" y="237675"/>
                    <a:pt x="305667" y="251274"/>
                    <a:pt x="308387" y="264872"/>
                  </a:cubicBezTo>
                  <a:cubicBezTo>
                    <a:pt x="311106" y="278470"/>
                    <a:pt x="311106" y="289349"/>
                    <a:pt x="319265" y="300227"/>
                  </a:cubicBezTo>
                  <a:cubicBezTo>
                    <a:pt x="332864" y="324704"/>
                    <a:pt x="346462" y="351901"/>
                    <a:pt x="351901" y="379097"/>
                  </a:cubicBezTo>
                  <a:cubicBezTo>
                    <a:pt x="354621" y="392696"/>
                    <a:pt x="360060" y="403574"/>
                    <a:pt x="365500" y="417173"/>
                  </a:cubicBezTo>
                  <a:cubicBezTo>
                    <a:pt x="373659" y="430771"/>
                    <a:pt x="373659" y="444369"/>
                    <a:pt x="379098" y="457967"/>
                  </a:cubicBezTo>
                  <a:cubicBezTo>
                    <a:pt x="381818" y="471566"/>
                    <a:pt x="387257" y="482444"/>
                    <a:pt x="395416" y="496043"/>
                  </a:cubicBezTo>
                  <a:cubicBezTo>
                    <a:pt x="398136" y="501482"/>
                    <a:pt x="403575" y="506921"/>
                    <a:pt x="406294" y="512361"/>
                  </a:cubicBezTo>
                  <a:cubicBezTo>
                    <a:pt x="409014" y="517800"/>
                    <a:pt x="409014" y="525959"/>
                    <a:pt x="411734" y="531398"/>
                  </a:cubicBezTo>
                  <a:cubicBezTo>
                    <a:pt x="414453" y="539557"/>
                    <a:pt x="417173" y="550436"/>
                    <a:pt x="419893" y="558595"/>
                  </a:cubicBezTo>
                  <a:cubicBezTo>
                    <a:pt x="422613" y="561314"/>
                    <a:pt x="422613" y="564034"/>
                    <a:pt x="425332" y="564034"/>
                  </a:cubicBezTo>
                  <a:cubicBezTo>
                    <a:pt x="428052" y="564034"/>
                    <a:pt x="428052" y="561314"/>
                    <a:pt x="430771" y="558595"/>
                  </a:cubicBezTo>
                  <a:cubicBezTo>
                    <a:pt x="430771" y="555875"/>
                    <a:pt x="430771" y="553155"/>
                    <a:pt x="430771" y="550436"/>
                  </a:cubicBezTo>
                  <a:cubicBezTo>
                    <a:pt x="430771" y="534118"/>
                    <a:pt x="430771" y="517800"/>
                    <a:pt x="430771" y="501482"/>
                  </a:cubicBezTo>
                  <a:cubicBezTo>
                    <a:pt x="430771" y="468846"/>
                    <a:pt x="433491" y="436210"/>
                    <a:pt x="430771" y="403574"/>
                  </a:cubicBezTo>
                  <a:cubicBezTo>
                    <a:pt x="430771" y="373658"/>
                    <a:pt x="425332" y="343742"/>
                    <a:pt x="425332" y="313826"/>
                  </a:cubicBezTo>
                  <a:cubicBezTo>
                    <a:pt x="425332" y="292068"/>
                    <a:pt x="425332" y="270311"/>
                    <a:pt x="425332" y="248554"/>
                  </a:cubicBezTo>
                  <a:cubicBezTo>
                    <a:pt x="425332" y="234956"/>
                    <a:pt x="425332" y="224077"/>
                    <a:pt x="425332" y="210479"/>
                  </a:cubicBezTo>
                  <a:cubicBezTo>
                    <a:pt x="425332" y="191441"/>
                    <a:pt x="422613" y="172404"/>
                    <a:pt x="422613" y="153366"/>
                  </a:cubicBezTo>
                  <a:cubicBezTo>
                    <a:pt x="422613" y="142487"/>
                    <a:pt x="422613" y="134328"/>
                    <a:pt x="425332" y="123450"/>
                  </a:cubicBezTo>
                  <a:cubicBezTo>
                    <a:pt x="417173" y="123450"/>
                    <a:pt x="406294" y="123450"/>
                    <a:pt x="398136" y="123450"/>
                  </a:cubicBezTo>
                  <a:cubicBezTo>
                    <a:pt x="392696" y="123450"/>
                    <a:pt x="387257" y="123450"/>
                    <a:pt x="379098" y="123450"/>
                  </a:cubicBezTo>
                  <a:cubicBezTo>
                    <a:pt x="373659" y="123450"/>
                    <a:pt x="365500" y="120730"/>
                    <a:pt x="360060" y="118011"/>
                  </a:cubicBezTo>
                  <a:cubicBezTo>
                    <a:pt x="354621" y="115291"/>
                    <a:pt x="349182" y="107132"/>
                    <a:pt x="349182" y="101693"/>
                  </a:cubicBezTo>
                  <a:cubicBezTo>
                    <a:pt x="349182" y="98973"/>
                    <a:pt x="349182" y="96253"/>
                    <a:pt x="351901" y="93534"/>
                  </a:cubicBezTo>
                  <a:cubicBezTo>
                    <a:pt x="354621" y="90814"/>
                    <a:pt x="362780" y="88094"/>
                    <a:pt x="368219" y="85375"/>
                  </a:cubicBezTo>
                  <a:cubicBezTo>
                    <a:pt x="381818" y="82655"/>
                    <a:pt x="417173" y="79935"/>
                    <a:pt x="422613" y="79935"/>
                  </a:cubicBezTo>
                  <a:cubicBezTo>
                    <a:pt x="428052" y="79935"/>
                    <a:pt x="433491" y="79935"/>
                    <a:pt x="444370" y="79935"/>
                  </a:cubicBezTo>
                  <a:cubicBezTo>
                    <a:pt x="449809" y="74496"/>
                    <a:pt x="455248" y="71776"/>
                    <a:pt x="463407" y="71776"/>
                  </a:cubicBezTo>
                  <a:cubicBezTo>
                    <a:pt x="471566" y="71776"/>
                    <a:pt x="477006" y="74496"/>
                    <a:pt x="477006" y="79935"/>
                  </a:cubicBezTo>
                  <a:cubicBezTo>
                    <a:pt x="493324" y="79935"/>
                    <a:pt x="506922" y="79935"/>
                    <a:pt x="515081" y="79935"/>
                  </a:cubicBezTo>
                  <a:lnTo>
                    <a:pt x="515081" y="79935"/>
                  </a:lnTo>
                  <a:close/>
                </a:path>
              </a:pathLst>
            </a:custGeom>
            <a:grpFill/>
            <a:ln w="27168"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FE9C1978-5590-46D8-9FDF-2A19B277A264}"/>
                </a:ext>
              </a:extLst>
            </p:cNvPr>
            <p:cNvSpPr/>
            <p:nvPr/>
          </p:nvSpPr>
          <p:spPr>
            <a:xfrm>
              <a:off x="5139126" y="4192158"/>
              <a:ext cx="516735" cy="788700"/>
            </a:xfrm>
            <a:custGeom>
              <a:avLst/>
              <a:gdLst>
                <a:gd name="connsiteX0" fmla="*/ 464616 w 516735"/>
                <a:gd name="connsiteY0" fmla="*/ 436210 h 788699"/>
                <a:gd name="connsiteX1" fmla="*/ 445578 w 516735"/>
                <a:gd name="connsiteY1" fmla="*/ 455248 h 788699"/>
                <a:gd name="connsiteX2" fmla="*/ 404784 w 516735"/>
                <a:gd name="connsiteY2" fmla="*/ 466126 h 788699"/>
                <a:gd name="connsiteX3" fmla="*/ 385746 w 516735"/>
                <a:gd name="connsiteY3" fmla="*/ 479725 h 788699"/>
                <a:gd name="connsiteX4" fmla="*/ 388466 w 516735"/>
                <a:gd name="connsiteY4" fmla="*/ 512361 h 788699"/>
                <a:gd name="connsiteX5" fmla="*/ 388466 w 516735"/>
                <a:gd name="connsiteY5" fmla="*/ 544997 h 788699"/>
                <a:gd name="connsiteX6" fmla="*/ 388466 w 516735"/>
                <a:gd name="connsiteY6" fmla="*/ 566754 h 788699"/>
                <a:gd name="connsiteX7" fmla="*/ 391185 w 516735"/>
                <a:gd name="connsiteY7" fmla="*/ 632026 h 788699"/>
                <a:gd name="connsiteX8" fmla="*/ 393905 w 516735"/>
                <a:gd name="connsiteY8" fmla="*/ 683699 h 788699"/>
                <a:gd name="connsiteX9" fmla="*/ 377587 w 516735"/>
                <a:gd name="connsiteY9" fmla="*/ 724494 h 788699"/>
                <a:gd name="connsiteX10" fmla="*/ 361269 w 516735"/>
                <a:gd name="connsiteY10" fmla="*/ 719054 h 788699"/>
                <a:gd name="connsiteX11" fmla="*/ 353110 w 516735"/>
                <a:gd name="connsiteY11" fmla="*/ 702737 h 788699"/>
                <a:gd name="connsiteX12" fmla="*/ 350390 w 516735"/>
                <a:gd name="connsiteY12" fmla="*/ 686419 h 788699"/>
                <a:gd name="connsiteX13" fmla="*/ 353110 w 516735"/>
                <a:gd name="connsiteY13" fmla="*/ 659222 h 788699"/>
                <a:gd name="connsiteX14" fmla="*/ 353110 w 516735"/>
                <a:gd name="connsiteY14" fmla="*/ 656502 h 788699"/>
                <a:gd name="connsiteX15" fmla="*/ 317755 w 516735"/>
                <a:gd name="connsiteY15" fmla="*/ 708176 h 788699"/>
                <a:gd name="connsiteX16" fmla="*/ 241604 w 516735"/>
                <a:gd name="connsiteY16" fmla="*/ 735372 h 788699"/>
                <a:gd name="connsiteX17" fmla="*/ 187211 w 516735"/>
                <a:gd name="connsiteY17" fmla="*/ 727214 h 788699"/>
                <a:gd name="connsiteX18" fmla="*/ 135538 w 516735"/>
                <a:gd name="connsiteY18" fmla="*/ 694578 h 788699"/>
                <a:gd name="connsiteX19" fmla="*/ 86584 w 516735"/>
                <a:gd name="connsiteY19" fmla="*/ 621147 h 788699"/>
                <a:gd name="connsiteX20" fmla="*/ 67546 w 516735"/>
                <a:gd name="connsiteY20" fmla="*/ 555875 h 788699"/>
                <a:gd name="connsiteX21" fmla="*/ 59387 w 516735"/>
                <a:gd name="connsiteY21" fmla="*/ 509641 h 788699"/>
                <a:gd name="connsiteX22" fmla="*/ 59387 w 516735"/>
                <a:gd name="connsiteY22" fmla="*/ 468846 h 788699"/>
                <a:gd name="connsiteX23" fmla="*/ 86584 w 516735"/>
                <a:gd name="connsiteY23" fmla="*/ 302947 h 788699"/>
                <a:gd name="connsiteX24" fmla="*/ 108341 w 516735"/>
                <a:gd name="connsiteY24" fmla="*/ 224077 h 788699"/>
                <a:gd name="connsiteX25" fmla="*/ 146416 w 516735"/>
                <a:gd name="connsiteY25" fmla="*/ 145207 h 788699"/>
                <a:gd name="connsiteX26" fmla="*/ 198090 w 516735"/>
                <a:gd name="connsiteY26" fmla="*/ 85375 h 788699"/>
                <a:gd name="connsiteX27" fmla="*/ 228006 w 516735"/>
                <a:gd name="connsiteY27" fmla="*/ 69057 h 788699"/>
                <a:gd name="connsiteX28" fmla="*/ 268801 w 516735"/>
                <a:gd name="connsiteY28" fmla="*/ 58178 h 788699"/>
                <a:gd name="connsiteX29" fmla="*/ 274240 w 516735"/>
                <a:gd name="connsiteY29" fmla="*/ 58178 h 788699"/>
                <a:gd name="connsiteX30" fmla="*/ 295997 w 516735"/>
                <a:gd name="connsiteY30" fmla="*/ 60898 h 788699"/>
                <a:gd name="connsiteX31" fmla="*/ 331353 w 516735"/>
                <a:gd name="connsiteY31" fmla="*/ 71776 h 788699"/>
                <a:gd name="connsiteX32" fmla="*/ 350390 w 516735"/>
                <a:gd name="connsiteY32" fmla="*/ 93534 h 788699"/>
                <a:gd name="connsiteX33" fmla="*/ 353110 w 516735"/>
                <a:gd name="connsiteY33" fmla="*/ 74496 h 788699"/>
                <a:gd name="connsiteX34" fmla="*/ 358549 w 516735"/>
                <a:gd name="connsiteY34" fmla="*/ 63618 h 788699"/>
                <a:gd name="connsiteX35" fmla="*/ 366708 w 516735"/>
                <a:gd name="connsiteY35" fmla="*/ 58178 h 788699"/>
                <a:gd name="connsiteX36" fmla="*/ 374867 w 516735"/>
                <a:gd name="connsiteY36" fmla="*/ 63618 h 788699"/>
                <a:gd name="connsiteX37" fmla="*/ 383026 w 516735"/>
                <a:gd name="connsiteY37" fmla="*/ 82655 h 788699"/>
                <a:gd name="connsiteX38" fmla="*/ 385746 w 516735"/>
                <a:gd name="connsiteY38" fmla="*/ 126170 h 788699"/>
                <a:gd name="connsiteX39" fmla="*/ 388466 w 516735"/>
                <a:gd name="connsiteY39" fmla="*/ 186002 h 788699"/>
                <a:gd name="connsiteX40" fmla="*/ 391185 w 516735"/>
                <a:gd name="connsiteY40" fmla="*/ 237676 h 788699"/>
                <a:gd name="connsiteX41" fmla="*/ 374867 w 516735"/>
                <a:gd name="connsiteY41" fmla="*/ 278470 h 788699"/>
                <a:gd name="connsiteX42" fmla="*/ 358549 w 516735"/>
                <a:gd name="connsiteY42" fmla="*/ 273031 h 788699"/>
                <a:gd name="connsiteX43" fmla="*/ 350390 w 516735"/>
                <a:gd name="connsiteY43" fmla="*/ 256713 h 788699"/>
                <a:gd name="connsiteX44" fmla="*/ 347671 w 516735"/>
                <a:gd name="connsiteY44" fmla="*/ 240395 h 788699"/>
                <a:gd name="connsiteX45" fmla="*/ 347671 w 516735"/>
                <a:gd name="connsiteY45" fmla="*/ 213199 h 788699"/>
                <a:gd name="connsiteX46" fmla="*/ 344951 w 516735"/>
                <a:gd name="connsiteY46" fmla="*/ 194161 h 788699"/>
                <a:gd name="connsiteX47" fmla="*/ 339512 w 516735"/>
                <a:gd name="connsiteY47" fmla="*/ 150647 h 788699"/>
                <a:gd name="connsiteX48" fmla="*/ 323194 w 516735"/>
                <a:gd name="connsiteY48" fmla="*/ 112571 h 788699"/>
                <a:gd name="connsiteX49" fmla="*/ 293278 w 516735"/>
                <a:gd name="connsiteY49" fmla="*/ 101693 h 788699"/>
                <a:gd name="connsiteX50" fmla="*/ 263361 w 516735"/>
                <a:gd name="connsiteY50" fmla="*/ 120730 h 788699"/>
                <a:gd name="connsiteX51" fmla="*/ 241604 w 516735"/>
                <a:gd name="connsiteY51" fmla="*/ 153366 h 788699"/>
                <a:gd name="connsiteX52" fmla="*/ 233445 w 516735"/>
                <a:gd name="connsiteY52" fmla="*/ 194161 h 788699"/>
                <a:gd name="connsiteX53" fmla="*/ 225286 w 516735"/>
                <a:gd name="connsiteY53" fmla="*/ 232236 h 788699"/>
                <a:gd name="connsiteX54" fmla="*/ 217127 w 516735"/>
                <a:gd name="connsiteY54" fmla="*/ 275751 h 788699"/>
                <a:gd name="connsiteX55" fmla="*/ 211688 w 516735"/>
                <a:gd name="connsiteY55" fmla="*/ 316545 h 788699"/>
                <a:gd name="connsiteX56" fmla="*/ 206249 w 516735"/>
                <a:gd name="connsiteY56" fmla="*/ 354621 h 788699"/>
                <a:gd name="connsiteX57" fmla="*/ 200809 w 516735"/>
                <a:gd name="connsiteY57" fmla="*/ 398135 h 788699"/>
                <a:gd name="connsiteX58" fmla="*/ 195370 w 516735"/>
                <a:gd name="connsiteY58" fmla="*/ 438930 h 788699"/>
                <a:gd name="connsiteX59" fmla="*/ 192650 w 516735"/>
                <a:gd name="connsiteY59" fmla="*/ 474286 h 788699"/>
                <a:gd name="connsiteX60" fmla="*/ 195370 w 516735"/>
                <a:gd name="connsiteY60" fmla="*/ 525959 h 788699"/>
                <a:gd name="connsiteX61" fmla="*/ 208968 w 516735"/>
                <a:gd name="connsiteY61" fmla="*/ 596670 h 788699"/>
                <a:gd name="connsiteX62" fmla="*/ 214407 w 516735"/>
                <a:gd name="connsiteY62" fmla="*/ 623867 h 788699"/>
                <a:gd name="connsiteX63" fmla="*/ 228006 w 516735"/>
                <a:gd name="connsiteY63" fmla="*/ 656502 h 788699"/>
                <a:gd name="connsiteX64" fmla="*/ 271520 w 516735"/>
                <a:gd name="connsiteY64" fmla="*/ 689138 h 788699"/>
                <a:gd name="connsiteX65" fmla="*/ 306876 w 516735"/>
                <a:gd name="connsiteY65" fmla="*/ 664661 h 788699"/>
                <a:gd name="connsiteX66" fmla="*/ 331353 w 516735"/>
                <a:gd name="connsiteY66" fmla="*/ 602109 h 788699"/>
                <a:gd name="connsiteX67" fmla="*/ 336792 w 516735"/>
                <a:gd name="connsiteY67" fmla="*/ 544997 h 788699"/>
                <a:gd name="connsiteX68" fmla="*/ 336792 w 516735"/>
                <a:gd name="connsiteY68" fmla="*/ 498762 h 788699"/>
                <a:gd name="connsiteX69" fmla="*/ 336792 w 516735"/>
                <a:gd name="connsiteY69" fmla="*/ 490603 h 788699"/>
                <a:gd name="connsiteX70" fmla="*/ 320474 w 516735"/>
                <a:gd name="connsiteY70" fmla="*/ 477005 h 788699"/>
                <a:gd name="connsiteX71" fmla="*/ 282399 w 516735"/>
                <a:gd name="connsiteY71" fmla="*/ 479725 h 788699"/>
                <a:gd name="connsiteX72" fmla="*/ 252483 w 516735"/>
                <a:gd name="connsiteY72" fmla="*/ 474286 h 788699"/>
                <a:gd name="connsiteX73" fmla="*/ 247043 w 516735"/>
                <a:gd name="connsiteY73" fmla="*/ 466126 h 788699"/>
                <a:gd name="connsiteX74" fmla="*/ 249763 w 516735"/>
                <a:gd name="connsiteY74" fmla="*/ 457968 h 788699"/>
                <a:gd name="connsiteX75" fmla="*/ 268801 w 516735"/>
                <a:gd name="connsiteY75" fmla="*/ 447089 h 788699"/>
                <a:gd name="connsiteX76" fmla="*/ 312315 w 516735"/>
                <a:gd name="connsiteY76" fmla="*/ 436210 h 788699"/>
                <a:gd name="connsiteX77" fmla="*/ 353110 w 516735"/>
                <a:gd name="connsiteY77" fmla="*/ 430771 h 788699"/>
                <a:gd name="connsiteX78" fmla="*/ 385746 w 516735"/>
                <a:gd name="connsiteY78" fmla="*/ 430771 h 788699"/>
                <a:gd name="connsiteX79" fmla="*/ 437420 w 516735"/>
                <a:gd name="connsiteY79" fmla="*/ 428051 h 788699"/>
                <a:gd name="connsiteX80" fmla="*/ 464616 w 516735"/>
                <a:gd name="connsiteY80" fmla="*/ 436210 h 78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516735" h="788699">
                  <a:moveTo>
                    <a:pt x="464616" y="436210"/>
                  </a:moveTo>
                  <a:cubicBezTo>
                    <a:pt x="464616" y="447089"/>
                    <a:pt x="453737" y="452528"/>
                    <a:pt x="445578" y="455248"/>
                  </a:cubicBezTo>
                  <a:cubicBezTo>
                    <a:pt x="434700" y="460687"/>
                    <a:pt x="415662" y="463407"/>
                    <a:pt x="404784" y="466126"/>
                  </a:cubicBezTo>
                  <a:cubicBezTo>
                    <a:pt x="393905" y="466126"/>
                    <a:pt x="385746" y="468846"/>
                    <a:pt x="385746" y="479725"/>
                  </a:cubicBezTo>
                  <a:cubicBezTo>
                    <a:pt x="385746" y="487884"/>
                    <a:pt x="388466" y="506921"/>
                    <a:pt x="388466" y="512361"/>
                  </a:cubicBezTo>
                  <a:cubicBezTo>
                    <a:pt x="388466" y="515080"/>
                    <a:pt x="388466" y="539557"/>
                    <a:pt x="388466" y="544997"/>
                  </a:cubicBezTo>
                  <a:cubicBezTo>
                    <a:pt x="388466" y="550436"/>
                    <a:pt x="388466" y="558595"/>
                    <a:pt x="388466" y="566754"/>
                  </a:cubicBezTo>
                  <a:cubicBezTo>
                    <a:pt x="388466" y="591231"/>
                    <a:pt x="388466" y="621147"/>
                    <a:pt x="391185" y="632026"/>
                  </a:cubicBezTo>
                  <a:cubicBezTo>
                    <a:pt x="393905" y="653783"/>
                    <a:pt x="393905" y="661942"/>
                    <a:pt x="393905" y="683699"/>
                  </a:cubicBezTo>
                  <a:cubicBezTo>
                    <a:pt x="393905" y="694578"/>
                    <a:pt x="393905" y="724494"/>
                    <a:pt x="377587" y="724494"/>
                  </a:cubicBezTo>
                  <a:cubicBezTo>
                    <a:pt x="369428" y="724494"/>
                    <a:pt x="366708" y="721774"/>
                    <a:pt x="361269" y="719054"/>
                  </a:cubicBezTo>
                  <a:cubicBezTo>
                    <a:pt x="355830" y="716335"/>
                    <a:pt x="353110" y="708176"/>
                    <a:pt x="353110" y="702737"/>
                  </a:cubicBezTo>
                  <a:cubicBezTo>
                    <a:pt x="350390" y="694578"/>
                    <a:pt x="350390" y="689138"/>
                    <a:pt x="350390" y="686419"/>
                  </a:cubicBezTo>
                  <a:cubicBezTo>
                    <a:pt x="350390" y="678260"/>
                    <a:pt x="353110" y="672820"/>
                    <a:pt x="353110" y="659222"/>
                  </a:cubicBezTo>
                  <a:lnTo>
                    <a:pt x="353110" y="656502"/>
                  </a:lnTo>
                  <a:cubicBezTo>
                    <a:pt x="347671" y="675540"/>
                    <a:pt x="334072" y="694578"/>
                    <a:pt x="317755" y="708176"/>
                  </a:cubicBezTo>
                  <a:cubicBezTo>
                    <a:pt x="293278" y="727214"/>
                    <a:pt x="274240" y="735372"/>
                    <a:pt x="241604" y="735372"/>
                  </a:cubicBezTo>
                  <a:cubicBezTo>
                    <a:pt x="222566" y="735372"/>
                    <a:pt x="203529" y="732653"/>
                    <a:pt x="187211" y="727214"/>
                  </a:cubicBezTo>
                  <a:cubicBezTo>
                    <a:pt x="165454" y="719054"/>
                    <a:pt x="149136" y="708176"/>
                    <a:pt x="135538" y="694578"/>
                  </a:cubicBezTo>
                  <a:cubicBezTo>
                    <a:pt x="113780" y="672820"/>
                    <a:pt x="100182" y="648343"/>
                    <a:pt x="86584" y="621147"/>
                  </a:cubicBezTo>
                  <a:cubicBezTo>
                    <a:pt x="75705" y="599390"/>
                    <a:pt x="70266" y="580352"/>
                    <a:pt x="67546" y="555875"/>
                  </a:cubicBezTo>
                  <a:cubicBezTo>
                    <a:pt x="64826" y="539557"/>
                    <a:pt x="62107" y="525959"/>
                    <a:pt x="59387" y="509641"/>
                  </a:cubicBezTo>
                  <a:cubicBezTo>
                    <a:pt x="56667" y="493323"/>
                    <a:pt x="59387" y="485164"/>
                    <a:pt x="59387" y="468846"/>
                  </a:cubicBezTo>
                  <a:cubicBezTo>
                    <a:pt x="59387" y="414453"/>
                    <a:pt x="72985" y="362780"/>
                    <a:pt x="86584" y="302947"/>
                  </a:cubicBezTo>
                  <a:cubicBezTo>
                    <a:pt x="92023" y="275751"/>
                    <a:pt x="100182" y="248554"/>
                    <a:pt x="108341" y="224077"/>
                  </a:cubicBezTo>
                  <a:cubicBezTo>
                    <a:pt x="116500" y="196881"/>
                    <a:pt x="130098" y="169684"/>
                    <a:pt x="146416" y="145207"/>
                  </a:cubicBezTo>
                  <a:cubicBezTo>
                    <a:pt x="160014" y="123450"/>
                    <a:pt x="176332" y="101693"/>
                    <a:pt x="198090" y="85375"/>
                  </a:cubicBezTo>
                  <a:cubicBezTo>
                    <a:pt x="206249" y="77216"/>
                    <a:pt x="217127" y="71776"/>
                    <a:pt x="228006" y="69057"/>
                  </a:cubicBezTo>
                  <a:cubicBezTo>
                    <a:pt x="241604" y="63618"/>
                    <a:pt x="255202" y="58178"/>
                    <a:pt x="268801" y="58178"/>
                  </a:cubicBezTo>
                  <a:cubicBezTo>
                    <a:pt x="271520" y="58178"/>
                    <a:pt x="274240" y="58178"/>
                    <a:pt x="274240" y="58178"/>
                  </a:cubicBezTo>
                  <a:cubicBezTo>
                    <a:pt x="279679" y="58178"/>
                    <a:pt x="285119" y="58178"/>
                    <a:pt x="295997" y="60898"/>
                  </a:cubicBezTo>
                  <a:cubicBezTo>
                    <a:pt x="309595" y="63618"/>
                    <a:pt x="320474" y="66337"/>
                    <a:pt x="331353" y="71776"/>
                  </a:cubicBezTo>
                  <a:cubicBezTo>
                    <a:pt x="339512" y="77216"/>
                    <a:pt x="347671" y="85375"/>
                    <a:pt x="350390" y="93534"/>
                  </a:cubicBezTo>
                  <a:cubicBezTo>
                    <a:pt x="350390" y="88095"/>
                    <a:pt x="353110" y="79936"/>
                    <a:pt x="353110" y="74496"/>
                  </a:cubicBezTo>
                  <a:cubicBezTo>
                    <a:pt x="355830" y="71776"/>
                    <a:pt x="355830" y="69057"/>
                    <a:pt x="358549" y="63618"/>
                  </a:cubicBezTo>
                  <a:cubicBezTo>
                    <a:pt x="361269" y="60898"/>
                    <a:pt x="363989" y="58178"/>
                    <a:pt x="366708" y="58178"/>
                  </a:cubicBezTo>
                  <a:cubicBezTo>
                    <a:pt x="369428" y="58178"/>
                    <a:pt x="372148" y="60898"/>
                    <a:pt x="374867" y="63618"/>
                  </a:cubicBezTo>
                  <a:cubicBezTo>
                    <a:pt x="377587" y="69057"/>
                    <a:pt x="380307" y="77216"/>
                    <a:pt x="383026" y="82655"/>
                  </a:cubicBezTo>
                  <a:cubicBezTo>
                    <a:pt x="383026" y="90814"/>
                    <a:pt x="385746" y="107132"/>
                    <a:pt x="385746" y="126170"/>
                  </a:cubicBezTo>
                  <a:cubicBezTo>
                    <a:pt x="385746" y="150647"/>
                    <a:pt x="385746" y="177843"/>
                    <a:pt x="388466" y="186002"/>
                  </a:cubicBezTo>
                  <a:cubicBezTo>
                    <a:pt x="391185" y="207759"/>
                    <a:pt x="391185" y="215918"/>
                    <a:pt x="391185" y="237676"/>
                  </a:cubicBezTo>
                  <a:cubicBezTo>
                    <a:pt x="391185" y="248554"/>
                    <a:pt x="391185" y="278470"/>
                    <a:pt x="374867" y="278470"/>
                  </a:cubicBezTo>
                  <a:cubicBezTo>
                    <a:pt x="366708" y="278470"/>
                    <a:pt x="363989" y="275751"/>
                    <a:pt x="358549" y="273031"/>
                  </a:cubicBezTo>
                  <a:cubicBezTo>
                    <a:pt x="353110" y="270311"/>
                    <a:pt x="350390" y="262152"/>
                    <a:pt x="350390" y="256713"/>
                  </a:cubicBezTo>
                  <a:cubicBezTo>
                    <a:pt x="350390" y="251274"/>
                    <a:pt x="347671" y="245834"/>
                    <a:pt x="347671" y="240395"/>
                  </a:cubicBezTo>
                  <a:cubicBezTo>
                    <a:pt x="347671" y="232236"/>
                    <a:pt x="347671" y="224077"/>
                    <a:pt x="347671" y="213199"/>
                  </a:cubicBezTo>
                  <a:cubicBezTo>
                    <a:pt x="347671" y="207759"/>
                    <a:pt x="347671" y="199600"/>
                    <a:pt x="344951" y="194161"/>
                  </a:cubicBezTo>
                  <a:cubicBezTo>
                    <a:pt x="342232" y="180563"/>
                    <a:pt x="342232" y="164245"/>
                    <a:pt x="339512" y="150647"/>
                  </a:cubicBezTo>
                  <a:cubicBezTo>
                    <a:pt x="336792" y="137048"/>
                    <a:pt x="331353" y="123450"/>
                    <a:pt x="323194" y="112571"/>
                  </a:cubicBezTo>
                  <a:cubicBezTo>
                    <a:pt x="317755" y="104412"/>
                    <a:pt x="304156" y="101693"/>
                    <a:pt x="293278" y="101693"/>
                  </a:cubicBezTo>
                  <a:cubicBezTo>
                    <a:pt x="279679" y="101693"/>
                    <a:pt x="271520" y="109852"/>
                    <a:pt x="263361" y="120730"/>
                  </a:cubicBezTo>
                  <a:cubicBezTo>
                    <a:pt x="257922" y="131609"/>
                    <a:pt x="247043" y="139768"/>
                    <a:pt x="241604" y="153366"/>
                  </a:cubicBezTo>
                  <a:cubicBezTo>
                    <a:pt x="236165" y="166964"/>
                    <a:pt x="233445" y="180563"/>
                    <a:pt x="233445" y="194161"/>
                  </a:cubicBezTo>
                  <a:cubicBezTo>
                    <a:pt x="233445" y="207759"/>
                    <a:pt x="230726" y="218638"/>
                    <a:pt x="225286" y="232236"/>
                  </a:cubicBezTo>
                  <a:cubicBezTo>
                    <a:pt x="219847" y="245834"/>
                    <a:pt x="219847" y="262152"/>
                    <a:pt x="217127" y="275751"/>
                  </a:cubicBezTo>
                  <a:cubicBezTo>
                    <a:pt x="214407" y="289349"/>
                    <a:pt x="214407" y="302947"/>
                    <a:pt x="211688" y="316545"/>
                  </a:cubicBezTo>
                  <a:cubicBezTo>
                    <a:pt x="211688" y="330144"/>
                    <a:pt x="206249" y="341022"/>
                    <a:pt x="206249" y="354621"/>
                  </a:cubicBezTo>
                  <a:cubicBezTo>
                    <a:pt x="203529" y="368219"/>
                    <a:pt x="203529" y="381817"/>
                    <a:pt x="200809" y="398135"/>
                  </a:cubicBezTo>
                  <a:cubicBezTo>
                    <a:pt x="198090" y="411733"/>
                    <a:pt x="198090" y="425332"/>
                    <a:pt x="195370" y="438930"/>
                  </a:cubicBezTo>
                  <a:cubicBezTo>
                    <a:pt x="195370" y="449809"/>
                    <a:pt x="192650" y="463407"/>
                    <a:pt x="192650" y="474286"/>
                  </a:cubicBezTo>
                  <a:cubicBezTo>
                    <a:pt x="192650" y="490603"/>
                    <a:pt x="195370" y="509641"/>
                    <a:pt x="195370" y="525959"/>
                  </a:cubicBezTo>
                  <a:cubicBezTo>
                    <a:pt x="195370" y="550436"/>
                    <a:pt x="203529" y="572193"/>
                    <a:pt x="208968" y="596670"/>
                  </a:cubicBezTo>
                  <a:cubicBezTo>
                    <a:pt x="211688" y="604829"/>
                    <a:pt x="211688" y="615708"/>
                    <a:pt x="214407" y="623867"/>
                  </a:cubicBezTo>
                  <a:cubicBezTo>
                    <a:pt x="217127" y="634745"/>
                    <a:pt x="222566" y="645624"/>
                    <a:pt x="228006" y="656502"/>
                  </a:cubicBezTo>
                  <a:cubicBezTo>
                    <a:pt x="236165" y="670101"/>
                    <a:pt x="252483" y="689138"/>
                    <a:pt x="271520" y="689138"/>
                  </a:cubicBezTo>
                  <a:cubicBezTo>
                    <a:pt x="287838" y="689138"/>
                    <a:pt x="298717" y="675540"/>
                    <a:pt x="306876" y="664661"/>
                  </a:cubicBezTo>
                  <a:cubicBezTo>
                    <a:pt x="320474" y="645624"/>
                    <a:pt x="325914" y="623867"/>
                    <a:pt x="331353" y="602109"/>
                  </a:cubicBezTo>
                  <a:cubicBezTo>
                    <a:pt x="334072" y="583072"/>
                    <a:pt x="336792" y="564034"/>
                    <a:pt x="336792" y="544997"/>
                  </a:cubicBezTo>
                  <a:cubicBezTo>
                    <a:pt x="336792" y="531398"/>
                    <a:pt x="336792" y="512361"/>
                    <a:pt x="336792" y="498762"/>
                  </a:cubicBezTo>
                  <a:cubicBezTo>
                    <a:pt x="336792" y="496043"/>
                    <a:pt x="336792" y="493323"/>
                    <a:pt x="336792" y="490603"/>
                  </a:cubicBezTo>
                  <a:cubicBezTo>
                    <a:pt x="336792" y="479725"/>
                    <a:pt x="336792" y="477005"/>
                    <a:pt x="320474" y="477005"/>
                  </a:cubicBezTo>
                  <a:cubicBezTo>
                    <a:pt x="309595" y="477005"/>
                    <a:pt x="295997" y="479725"/>
                    <a:pt x="282399" y="479725"/>
                  </a:cubicBezTo>
                  <a:cubicBezTo>
                    <a:pt x="271520" y="479725"/>
                    <a:pt x="260642" y="479725"/>
                    <a:pt x="252483" y="474286"/>
                  </a:cubicBezTo>
                  <a:cubicBezTo>
                    <a:pt x="249763" y="471566"/>
                    <a:pt x="247043" y="468846"/>
                    <a:pt x="247043" y="466126"/>
                  </a:cubicBezTo>
                  <a:cubicBezTo>
                    <a:pt x="247043" y="463407"/>
                    <a:pt x="247043" y="460687"/>
                    <a:pt x="249763" y="457968"/>
                  </a:cubicBezTo>
                  <a:cubicBezTo>
                    <a:pt x="255202" y="452528"/>
                    <a:pt x="260642" y="449809"/>
                    <a:pt x="268801" y="447089"/>
                  </a:cubicBezTo>
                  <a:cubicBezTo>
                    <a:pt x="282399" y="441650"/>
                    <a:pt x="295997" y="438930"/>
                    <a:pt x="312315" y="436210"/>
                  </a:cubicBezTo>
                  <a:cubicBezTo>
                    <a:pt x="325914" y="433491"/>
                    <a:pt x="339512" y="433491"/>
                    <a:pt x="353110" y="430771"/>
                  </a:cubicBezTo>
                  <a:cubicBezTo>
                    <a:pt x="363989" y="430771"/>
                    <a:pt x="374867" y="430771"/>
                    <a:pt x="385746" y="430771"/>
                  </a:cubicBezTo>
                  <a:cubicBezTo>
                    <a:pt x="402064" y="430771"/>
                    <a:pt x="426541" y="428051"/>
                    <a:pt x="437420" y="428051"/>
                  </a:cubicBezTo>
                  <a:cubicBezTo>
                    <a:pt x="451018" y="419892"/>
                    <a:pt x="464616" y="425332"/>
                    <a:pt x="464616" y="436210"/>
                  </a:cubicBezTo>
                </a:path>
              </a:pathLst>
            </a:custGeom>
            <a:grpFill/>
            <a:ln w="27168"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190C8369-64B1-4DF7-B7C8-8DDAD29B4773}"/>
                </a:ext>
              </a:extLst>
            </p:cNvPr>
            <p:cNvSpPr/>
            <p:nvPr/>
          </p:nvSpPr>
          <p:spPr>
            <a:xfrm>
              <a:off x="5651630" y="4181279"/>
              <a:ext cx="734308" cy="788700"/>
            </a:xfrm>
            <a:custGeom>
              <a:avLst/>
              <a:gdLst>
                <a:gd name="connsiteX0" fmla="*/ 653783 w 734307"/>
                <a:gd name="connsiteY0" fmla="*/ 678259 h 788699"/>
                <a:gd name="connsiteX1" fmla="*/ 691859 w 734307"/>
                <a:gd name="connsiteY1" fmla="*/ 694577 h 788699"/>
                <a:gd name="connsiteX2" fmla="*/ 686419 w 734307"/>
                <a:gd name="connsiteY2" fmla="*/ 710895 h 788699"/>
                <a:gd name="connsiteX3" fmla="*/ 670101 w 734307"/>
                <a:gd name="connsiteY3" fmla="*/ 719054 h 788699"/>
                <a:gd name="connsiteX4" fmla="*/ 648344 w 734307"/>
                <a:gd name="connsiteY4" fmla="*/ 721774 h 788699"/>
                <a:gd name="connsiteX5" fmla="*/ 618428 w 734307"/>
                <a:gd name="connsiteY5" fmla="*/ 721774 h 788699"/>
                <a:gd name="connsiteX6" fmla="*/ 572194 w 734307"/>
                <a:gd name="connsiteY6" fmla="*/ 735372 h 788699"/>
                <a:gd name="connsiteX7" fmla="*/ 544997 w 734307"/>
                <a:gd name="connsiteY7" fmla="*/ 729933 h 788699"/>
                <a:gd name="connsiteX8" fmla="*/ 534119 w 734307"/>
                <a:gd name="connsiteY8" fmla="*/ 721774 h 788699"/>
                <a:gd name="connsiteX9" fmla="*/ 496043 w 734307"/>
                <a:gd name="connsiteY9" fmla="*/ 721774 h 788699"/>
                <a:gd name="connsiteX10" fmla="*/ 471566 w 734307"/>
                <a:gd name="connsiteY10" fmla="*/ 721774 h 788699"/>
                <a:gd name="connsiteX11" fmla="*/ 444370 w 734307"/>
                <a:gd name="connsiteY11" fmla="*/ 716335 h 788699"/>
                <a:gd name="connsiteX12" fmla="*/ 428052 w 734307"/>
                <a:gd name="connsiteY12" fmla="*/ 700017 h 788699"/>
                <a:gd name="connsiteX13" fmla="*/ 433491 w 734307"/>
                <a:gd name="connsiteY13" fmla="*/ 691858 h 788699"/>
                <a:gd name="connsiteX14" fmla="*/ 455248 w 734307"/>
                <a:gd name="connsiteY14" fmla="*/ 683699 h 788699"/>
                <a:gd name="connsiteX15" fmla="*/ 506922 w 734307"/>
                <a:gd name="connsiteY15" fmla="*/ 678259 h 788699"/>
                <a:gd name="connsiteX16" fmla="*/ 509641 w 734307"/>
                <a:gd name="connsiteY16" fmla="*/ 678259 h 788699"/>
                <a:gd name="connsiteX17" fmla="*/ 506922 w 734307"/>
                <a:gd name="connsiteY17" fmla="*/ 664661 h 788699"/>
                <a:gd name="connsiteX18" fmla="*/ 498763 w 734307"/>
                <a:gd name="connsiteY18" fmla="*/ 580352 h 788699"/>
                <a:gd name="connsiteX19" fmla="*/ 496043 w 734307"/>
                <a:gd name="connsiteY19" fmla="*/ 479725 h 788699"/>
                <a:gd name="connsiteX20" fmla="*/ 493324 w 734307"/>
                <a:gd name="connsiteY20" fmla="*/ 389976 h 788699"/>
                <a:gd name="connsiteX21" fmla="*/ 490604 w 734307"/>
                <a:gd name="connsiteY21" fmla="*/ 302947 h 788699"/>
                <a:gd name="connsiteX22" fmla="*/ 487884 w 734307"/>
                <a:gd name="connsiteY22" fmla="*/ 229516 h 788699"/>
                <a:gd name="connsiteX23" fmla="*/ 485165 w 734307"/>
                <a:gd name="connsiteY23" fmla="*/ 221357 h 788699"/>
                <a:gd name="connsiteX24" fmla="*/ 482445 w 734307"/>
                <a:gd name="connsiteY24" fmla="*/ 226797 h 788699"/>
                <a:gd name="connsiteX25" fmla="*/ 477006 w 734307"/>
                <a:gd name="connsiteY25" fmla="*/ 262152 h 788699"/>
                <a:gd name="connsiteX26" fmla="*/ 460688 w 734307"/>
                <a:gd name="connsiteY26" fmla="*/ 341022 h 788699"/>
                <a:gd name="connsiteX27" fmla="*/ 444370 w 734307"/>
                <a:gd name="connsiteY27" fmla="*/ 417173 h 788699"/>
                <a:gd name="connsiteX28" fmla="*/ 436211 w 734307"/>
                <a:gd name="connsiteY28" fmla="*/ 455248 h 788699"/>
                <a:gd name="connsiteX29" fmla="*/ 425332 w 734307"/>
                <a:gd name="connsiteY29" fmla="*/ 493323 h 788699"/>
                <a:gd name="connsiteX30" fmla="*/ 411734 w 734307"/>
                <a:gd name="connsiteY30" fmla="*/ 531398 h 788699"/>
                <a:gd name="connsiteX31" fmla="*/ 376378 w 734307"/>
                <a:gd name="connsiteY31" fmla="*/ 547716 h 788699"/>
                <a:gd name="connsiteX32" fmla="*/ 319265 w 734307"/>
                <a:gd name="connsiteY32" fmla="*/ 525959 h 788699"/>
                <a:gd name="connsiteX33" fmla="*/ 289349 w 734307"/>
                <a:gd name="connsiteY33" fmla="*/ 455248 h 788699"/>
                <a:gd name="connsiteX34" fmla="*/ 273031 w 734307"/>
                <a:gd name="connsiteY34" fmla="*/ 373658 h 788699"/>
                <a:gd name="connsiteX35" fmla="*/ 262153 w 734307"/>
                <a:gd name="connsiteY35" fmla="*/ 316545 h 788699"/>
                <a:gd name="connsiteX36" fmla="*/ 245835 w 734307"/>
                <a:gd name="connsiteY36" fmla="*/ 237675 h 788699"/>
                <a:gd name="connsiteX37" fmla="*/ 234956 w 734307"/>
                <a:gd name="connsiteY37" fmla="*/ 196881 h 788699"/>
                <a:gd name="connsiteX38" fmla="*/ 232236 w 734307"/>
                <a:gd name="connsiteY38" fmla="*/ 191441 h 788699"/>
                <a:gd name="connsiteX39" fmla="*/ 226797 w 734307"/>
                <a:gd name="connsiteY39" fmla="*/ 207759 h 788699"/>
                <a:gd name="connsiteX40" fmla="*/ 226797 w 734307"/>
                <a:gd name="connsiteY40" fmla="*/ 232236 h 788699"/>
                <a:gd name="connsiteX41" fmla="*/ 224077 w 734307"/>
                <a:gd name="connsiteY41" fmla="*/ 267592 h 788699"/>
                <a:gd name="connsiteX42" fmla="*/ 221358 w 734307"/>
                <a:gd name="connsiteY42" fmla="*/ 311106 h 788699"/>
                <a:gd name="connsiteX43" fmla="*/ 218638 w 734307"/>
                <a:gd name="connsiteY43" fmla="*/ 360060 h 788699"/>
                <a:gd name="connsiteX44" fmla="*/ 215919 w 734307"/>
                <a:gd name="connsiteY44" fmla="*/ 398135 h 788699"/>
                <a:gd name="connsiteX45" fmla="*/ 213199 w 734307"/>
                <a:gd name="connsiteY45" fmla="*/ 430771 h 788699"/>
                <a:gd name="connsiteX46" fmla="*/ 213199 w 734307"/>
                <a:gd name="connsiteY46" fmla="*/ 455248 h 788699"/>
                <a:gd name="connsiteX47" fmla="*/ 213199 w 734307"/>
                <a:gd name="connsiteY47" fmla="*/ 477005 h 788699"/>
                <a:gd name="connsiteX48" fmla="*/ 207759 w 734307"/>
                <a:gd name="connsiteY48" fmla="*/ 520520 h 788699"/>
                <a:gd name="connsiteX49" fmla="*/ 196881 w 734307"/>
                <a:gd name="connsiteY49" fmla="*/ 610268 h 788699"/>
                <a:gd name="connsiteX50" fmla="*/ 194161 w 734307"/>
                <a:gd name="connsiteY50" fmla="*/ 653783 h 788699"/>
                <a:gd name="connsiteX51" fmla="*/ 191441 w 734307"/>
                <a:gd name="connsiteY51" fmla="*/ 667381 h 788699"/>
                <a:gd name="connsiteX52" fmla="*/ 243115 w 734307"/>
                <a:gd name="connsiteY52" fmla="*/ 667381 h 788699"/>
                <a:gd name="connsiteX53" fmla="*/ 273031 w 734307"/>
                <a:gd name="connsiteY53" fmla="*/ 683699 h 788699"/>
                <a:gd name="connsiteX54" fmla="*/ 262153 w 734307"/>
                <a:gd name="connsiteY54" fmla="*/ 697297 h 788699"/>
                <a:gd name="connsiteX55" fmla="*/ 248554 w 734307"/>
                <a:gd name="connsiteY55" fmla="*/ 705456 h 788699"/>
                <a:gd name="connsiteX56" fmla="*/ 232236 w 734307"/>
                <a:gd name="connsiteY56" fmla="*/ 708176 h 788699"/>
                <a:gd name="connsiteX57" fmla="*/ 166965 w 734307"/>
                <a:gd name="connsiteY57" fmla="*/ 708176 h 788699"/>
                <a:gd name="connsiteX58" fmla="*/ 109852 w 734307"/>
                <a:gd name="connsiteY58" fmla="*/ 708176 h 788699"/>
                <a:gd name="connsiteX59" fmla="*/ 90814 w 734307"/>
                <a:gd name="connsiteY59" fmla="*/ 708176 h 788699"/>
                <a:gd name="connsiteX60" fmla="*/ 69057 w 734307"/>
                <a:gd name="connsiteY60" fmla="*/ 702736 h 788699"/>
                <a:gd name="connsiteX61" fmla="*/ 58178 w 734307"/>
                <a:gd name="connsiteY61" fmla="*/ 686418 h 788699"/>
                <a:gd name="connsiteX62" fmla="*/ 60898 w 734307"/>
                <a:gd name="connsiteY62" fmla="*/ 678259 h 788699"/>
                <a:gd name="connsiteX63" fmla="*/ 77216 w 734307"/>
                <a:gd name="connsiteY63" fmla="*/ 670101 h 788699"/>
                <a:gd name="connsiteX64" fmla="*/ 126170 w 734307"/>
                <a:gd name="connsiteY64" fmla="*/ 664661 h 788699"/>
                <a:gd name="connsiteX65" fmla="*/ 142487 w 734307"/>
                <a:gd name="connsiteY65" fmla="*/ 664661 h 788699"/>
                <a:gd name="connsiteX66" fmla="*/ 147927 w 734307"/>
                <a:gd name="connsiteY66" fmla="*/ 588511 h 788699"/>
                <a:gd name="connsiteX67" fmla="*/ 153366 w 734307"/>
                <a:gd name="connsiteY67" fmla="*/ 493323 h 788699"/>
                <a:gd name="connsiteX68" fmla="*/ 156086 w 734307"/>
                <a:gd name="connsiteY68" fmla="*/ 411733 h 788699"/>
                <a:gd name="connsiteX69" fmla="*/ 161525 w 734307"/>
                <a:gd name="connsiteY69" fmla="*/ 297508 h 788699"/>
                <a:gd name="connsiteX70" fmla="*/ 166965 w 734307"/>
                <a:gd name="connsiteY70" fmla="*/ 240395 h 788699"/>
                <a:gd name="connsiteX71" fmla="*/ 177843 w 734307"/>
                <a:gd name="connsiteY71" fmla="*/ 161525 h 788699"/>
                <a:gd name="connsiteX72" fmla="*/ 183282 w 734307"/>
                <a:gd name="connsiteY72" fmla="*/ 118011 h 788699"/>
                <a:gd name="connsiteX73" fmla="*/ 183282 w 734307"/>
                <a:gd name="connsiteY73" fmla="*/ 115291 h 788699"/>
                <a:gd name="connsiteX74" fmla="*/ 161525 w 734307"/>
                <a:gd name="connsiteY74" fmla="*/ 115291 h 788699"/>
                <a:gd name="connsiteX75" fmla="*/ 137048 w 734307"/>
                <a:gd name="connsiteY75" fmla="*/ 115291 h 788699"/>
                <a:gd name="connsiteX76" fmla="*/ 109852 w 734307"/>
                <a:gd name="connsiteY76" fmla="*/ 109851 h 788699"/>
                <a:gd name="connsiteX77" fmla="*/ 93534 w 734307"/>
                <a:gd name="connsiteY77" fmla="*/ 93534 h 788699"/>
                <a:gd name="connsiteX78" fmla="*/ 98973 w 734307"/>
                <a:gd name="connsiteY78" fmla="*/ 85375 h 788699"/>
                <a:gd name="connsiteX79" fmla="*/ 120730 w 734307"/>
                <a:gd name="connsiteY79" fmla="*/ 77216 h 788699"/>
                <a:gd name="connsiteX80" fmla="*/ 172404 w 734307"/>
                <a:gd name="connsiteY80" fmla="*/ 71776 h 788699"/>
                <a:gd name="connsiteX81" fmla="*/ 234956 w 734307"/>
                <a:gd name="connsiteY81" fmla="*/ 69057 h 788699"/>
                <a:gd name="connsiteX82" fmla="*/ 243115 w 734307"/>
                <a:gd name="connsiteY82" fmla="*/ 69057 h 788699"/>
                <a:gd name="connsiteX83" fmla="*/ 270312 w 734307"/>
                <a:gd name="connsiteY83" fmla="*/ 74496 h 788699"/>
                <a:gd name="connsiteX84" fmla="*/ 308387 w 734307"/>
                <a:gd name="connsiteY84" fmla="*/ 123450 h 788699"/>
                <a:gd name="connsiteX85" fmla="*/ 332864 w 734307"/>
                <a:gd name="connsiteY85" fmla="*/ 202320 h 788699"/>
                <a:gd name="connsiteX86" fmla="*/ 338303 w 734307"/>
                <a:gd name="connsiteY86" fmla="*/ 237675 h 788699"/>
                <a:gd name="connsiteX87" fmla="*/ 349182 w 734307"/>
                <a:gd name="connsiteY87" fmla="*/ 281190 h 788699"/>
                <a:gd name="connsiteX88" fmla="*/ 357341 w 734307"/>
                <a:gd name="connsiteY88" fmla="*/ 316545 h 788699"/>
                <a:gd name="connsiteX89" fmla="*/ 365500 w 734307"/>
                <a:gd name="connsiteY89" fmla="*/ 351901 h 788699"/>
                <a:gd name="connsiteX90" fmla="*/ 376378 w 734307"/>
                <a:gd name="connsiteY90" fmla="*/ 389976 h 788699"/>
                <a:gd name="connsiteX91" fmla="*/ 387257 w 734307"/>
                <a:gd name="connsiteY91" fmla="*/ 414453 h 788699"/>
                <a:gd name="connsiteX92" fmla="*/ 398136 w 734307"/>
                <a:gd name="connsiteY92" fmla="*/ 376378 h 788699"/>
                <a:gd name="connsiteX93" fmla="*/ 406295 w 734307"/>
                <a:gd name="connsiteY93" fmla="*/ 332863 h 788699"/>
                <a:gd name="connsiteX94" fmla="*/ 425332 w 734307"/>
                <a:gd name="connsiteY94" fmla="*/ 243115 h 788699"/>
                <a:gd name="connsiteX95" fmla="*/ 444370 w 734307"/>
                <a:gd name="connsiteY95" fmla="*/ 150646 h 788699"/>
                <a:gd name="connsiteX96" fmla="*/ 477006 w 734307"/>
                <a:gd name="connsiteY96" fmla="*/ 79935 h 788699"/>
                <a:gd name="connsiteX97" fmla="*/ 523240 w 734307"/>
                <a:gd name="connsiteY97" fmla="*/ 58178 h 788699"/>
                <a:gd name="connsiteX98" fmla="*/ 544997 w 734307"/>
                <a:gd name="connsiteY98" fmla="*/ 63617 h 788699"/>
                <a:gd name="connsiteX99" fmla="*/ 612988 w 734307"/>
                <a:gd name="connsiteY99" fmla="*/ 63617 h 788699"/>
                <a:gd name="connsiteX100" fmla="*/ 651064 w 734307"/>
                <a:gd name="connsiteY100" fmla="*/ 79935 h 788699"/>
                <a:gd name="connsiteX101" fmla="*/ 645624 w 734307"/>
                <a:gd name="connsiteY101" fmla="*/ 96253 h 788699"/>
                <a:gd name="connsiteX102" fmla="*/ 629307 w 734307"/>
                <a:gd name="connsiteY102" fmla="*/ 104412 h 788699"/>
                <a:gd name="connsiteX103" fmla="*/ 607549 w 734307"/>
                <a:gd name="connsiteY103" fmla="*/ 107132 h 788699"/>
                <a:gd name="connsiteX104" fmla="*/ 580353 w 734307"/>
                <a:gd name="connsiteY104" fmla="*/ 107132 h 788699"/>
                <a:gd name="connsiteX105" fmla="*/ 583072 w 734307"/>
                <a:gd name="connsiteY105" fmla="*/ 115291 h 788699"/>
                <a:gd name="connsiteX106" fmla="*/ 588512 w 734307"/>
                <a:gd name="connsiteY106" fmla="*/ 156086 h 788699"/>
                <a:gd name="connsiteX107" fmla="*/ 593951 w 734307"/>
                <a:gd name="connsiteY107" fmla="*/ 196881 h 788699"/>
                <a:gd name="connsiteX108" fmla="*/ 599390 w 734307"/>
                <a:gd name="connsiteY108" fmla="*/ 226797 h 788699"/>
                <a:gd name="connsiteX109" fmla="*/ 599390 w 734307"/>
                <a:gd name="connsiteY109" fmla="*/ 232236 h 788699"/>
                <a:gd name="connsiteX110" fmla="*/ 599390 w 734307"/>
                <a:gd name="connsiteY110" fmla="*/ 240395 h 788699"/>
                <a:gd name="connsiteX111" fmla="*/ 602110 w 734307"/>
                <a:gd name="connsiteY111" fmla="*/ 270311 h 788699"/>
                <a:gd name="connsiteX112" fmla="*/ 607549 w 734307"/>
                <a:gd name="connsiteY112" fmla="*/ 308386 h 788699"/>
                <a:gd name="connsiteX113" fmla="*/ 607549 w 734307"/>
                <a:gd name="connsiteY113" fmla="*/ 319265 h 788699"/>
                <a:gd name="connsiteX114" fmla="*/ 612988 w 734307"/>
                <a:gd name="connsiteY114" fmla="*/ 335583 h 788699"/>
                <a:gd name="connsiteX115" fmla="*/ 612988 w 734307"/>
                <a:gd name="connsiteY115" fmla="*/ 346462 h 788699"/>
                <a:gd name="connsiteX116" fmla="*/ 612988 w 734307"/>
                <a:gd name="connsiteY116" fmla="*/ 370939 h 788699"/>
                <a:gd name="connsiteX117" fmla="*/ 612988 w 734307"/>
                <a:gd name="connsiteY117" fmla="*/ 395415 h 788699"/>
                <a:gd name="connsiteX118" fmla="*/ 615708 w 734307"/>
                <a:gd name="connsiteY118" fmla="*/ 422612 h 788699"/>
                <a:gd name="connsiteX119" fmla="*/ 618428 w 734307"/>
                <a:gd name="connsiteY119" fmla="*/ 441650 h 788699"/>
                <a:gd name="connsiteX120" fmla="*/ 618428 w 734307"/>
                <a:gd name="connsiteY120" fmla="*/ 455248 h 788699"/>
                <a:gd name="connsiteX121" fmla="*/ 621147 w 734307"/>
                <a:gd name="connsiteY121" fmla="*/ 463407 h 788699"/>
                <a:gd name="connsiteX122" fmla="*/ 626587 w 734307"/>
                <a:gd name="connsiteY122" fmla="*/ 482444 h 788699"/>
                <a:gd name="connsiteX123" fmla="*/ 629307 w 734307"/>
                <a:gd name="connsiteY123" fmla="*/ 517800 h 788699"/>
                <a:gd name="connsiteX124" fmla="*/ 634746 w 734307"/>
                <a:gd name="connsiteY124" fmla="*/ 561314 h 788699"/>
                <a:gd name="connsiteX125" fmla="*/ 634746 w 734307"/>
                <a:gd name="connsiteY125" fmla="*/ 566754 h 788699"/>
                <a:gd name="connsiteX126" fmla="*/ 634746 w 734307"/>
                <a:gd name="connsiteY126" fmla="*/ 583072 h 788699"/>
                <a:gd name="connsiteX127" fmla="*/ 637466 w 734307"/>
                <a:gd name="connsiteY127" fmla="*/ 607548 h 788699"/>
                <a:gd name="connsiteX128" fmla="*/ 640185 w 734307"/>
                <a:gd name="connsiteY128" fmla="*/ 618427 h 788699"/>
                <a:gd name="connsiteX129" fmla="*/ 640185 w 734307"/>
                <a:gd name="connsiteY129" fmla="*/ 632025 h 788699"/>
                <a:gd name="connsiteX130" fmla="*/ 640185 w 734307"/>
                <a:gd name="connsiteY130" fmla="*/ 640184 h 788699"/>
                <a:gd name="connsiteX131" fmla="*/ 642905 w 734307"/>
                <a:gd name="connsiteY131" fmla="*/ 659222 h 788699"/>
                <a:gd name="connsiteX132" fmla="*/ 642905 w 734307"/>
                <a:gd name="connsiteY132" fmla="*/ 664661 h 788699"/>
                <a:gd name="connsiteX133" fmla="*/ 653783 w 734307"/>
                <a:gd name="connsiteY133" fmla="*/ 678259 h 788699"/>
                <a:gd name="connsiteX134" fmla="*/ 653783 w 734307"/>
                <a:gd name="connsiteY134" fmla="*/ 678259 h 78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734307" h="788699">
                  <a:moveTo>
                    <a:pt x="653783" y="678259"/>
                  </a:moveTo>
                  <a:cubicBezTo>
                    <a:pt x="667382" y="678259"/>
                    <a:pt x="691859" y="678259"/>
                    <a:pt x="691859" y="694577"/>
                  </a:cubicBezTo>
                  <a:cubicBezTo>
                    <a:pt x="691859" y="702736"/>
                    <a:pt x="689139" y="705456"/>
                    <a:pt x="686419" y="710895"/>
                  </a:cubicBezTo>
                  <a:cubicBezTo>
                    <a:pt x="683700" y="716335"/>
                    <a:pt x="675541" y="719054"/>
                    <a:pt x="670101" y="719054"/>
                  </a:cubicBezTo>
                  <a:cubicBezTo>
                    <a:pt x="661942" y="721774"/>
                    <a:pt x="653783" y="721774"/>
                    <a:pt x="648344" y="721774"/>
                  </a:cubicBezTo>
                  <a:cubicBezTo>
                    <a:pt x="645624" y="721774"/>
                    <a:pt x="634746" y="721774"/>
                    <a:pt x="618428" y="721774"/>
                  </a:cubicBezTo>
                  <a:cubicBezTo>
                    <a:pt x="604829" y="729933"/>
                    <a:pt x="588512" y="735372"/>
                    <a:pt x="572194" y="735372"/>
                  </a:cubicBezTo>
                  <a:cubicBezTo>
                    <a:pt x="564035" y="735372"/>
                    <a:pt x="553156" y="732653"/>
                    <a:pt x="544997" y="729933"/>
                  </a:cubicBezTo>
                  <a:cubicBezTo>
                    <a:pt x="539558" y="727213"/>
                    <a:pt x="536838" y="724494"/>
                    <a:pt x="534119" y="721774"/>
                  </a:cubicBezTo>
                  <a:cubicBezTo>
                    <a:pt x="520520" y="721774"/>
                    <a:pt x="509641" y="721774"/>
                    <a:pt x="496043" y="721774"/>
                  </a:cubicBezTo>
                  <a:cubicBezTo>
                    <a:pt x="487884" y="721774"/>
                    <a:pt x="479725" y="721774"/>
                    <a:pt x="471566" y="721774"/>
                  </a:cubicBezTo>
                  <a:cubicBezTo>
                    <a:pt x="463407" y="721774"/>
                    <a:pt x="452529" y="721774"/>
                    <a:pt x="444370" y="716335"/>
                  </a:cubicBezTo>
                  <a:cubicBezTo>
                    <a:pt x="436211" y="713615"/>
                    <a:pt x="428052" y="705456"/>
                    <a:pt x="428052" y="700017"/>
                  </a:cubicBezTo>
                  <a:cubicBezTo>
                    <a:pt x="428052" y="697297"/>
                    <a:pt x="428052" y="694577"/>
                    <a:pt x="433491" y="691858"/>
                  </a:cubicBezTo>
                  <a:cubicBezTo>
                    <a:pt x="438930" y="689138"/>
                    <a:pt x="449809" y="686418"/>
                    <a:pt x="455248" y="683699"/>
                  </a:cubicBezTo>
                  <a:cubicBezTo>
                    <a:pt x="474286" y="680979"/>
                    <a:pt x="498763" y="678259"/>
                    <a:pt x="506922" y="678259"/>
                  </a:cubicBezTo>
                  <a:cubicBezTo>
                    <a:pt x="506922" y="678259"/>
                    <a:pt x="509641" y="678259"/>
                    <a:pt x="509641" y="678259"/>
                  </a:cubicBezTo>
                  <a:cubicBezTo>
                    <a:pt x="509641" y="672820"/>
                    <a:pt x="506922" y="670101"/>
                    <a:pt x="506922" y="664661"/>
                  </a:cubicBezTo>
                  <a:cubicBezTo>
                    <a:pt x="501483" y="640184"/>
                    <a:pt x="501483" y="612988"/>
                    <a:pt x="498763" y="580352"/>
                  </a:cubicBezTo>
                  <a:cubicBezTo>
                    <a:pt x="496043" y="547716"/>
                    <a:pt x="498763" y="512361"/>
                    <a:pt x="496043" y="479725"/>
                  </a:cubicBezTo>
                  <a:cubicBezTo>
                    <a:pt x="493324" y="449808"/>
                    <a:pt x="493324" y="419892"/>
                    <a:pt x="493324" y="389976"/>
                  </a:cubicBezTo>
                  <a:cubicBezTo>
                    <a:pt x="493324" y="360060"/>
                    <a:pt x="490604" y="332863"/>
                    <a:pt x="490604" y="302947"/>
                  </a:cubicBezTo>
                  <a:cubicBezTo>
                    <a:pt x="487884" y="275751"/>
                    <a:pt x="487884" y="240395"/>
                    <a:pt x="487884" y="229516"/>
                  </a:cubicBezTo>
                  <a:cubicBezTo>
                    <a:pt x="487884" y="224077"/>
                    <a:pt x="487884" y="221357"/>
                    <a:pt x="485165" y="221357"/>
                  </a:cubicBezTo>
                  <a:cubicBezTo>
                    <a:pt x="485165" y="221357"/>
                    <a:pt x="482445" y="224077"/>
                    <a:pt x="482445" y="226797"/>
                  </a:cubicBezTo>
                  <a:cubicBezTo>
                    <a:pt x="479725" y="237675"/>
                    <a:pt x="479725" y="251274"/>
                    <a:pt x="477006" y="262152"/>
                  </a:cubicBezTo>
                  <a:cubicBezTo>
                    <a:pt x="471566" y="289349"/>
                    <a:pt x="466127" y="316545"/>
                    <a:pt x="460688" y="341022"/>
                  </a:cubicBezTo>
                  <a:cubicBezTo>
                    <a:pt x="455248" y="365499"/>
                    <a:pt x="447090" y="392696"/>
                    <a:pt x="444370" y="417173"/>
                  </a:cubicBezTo>
                  <a:cubicBezTo>
                    <a:pt x="441650" y="430771"/>
                    <a:pt x="438930" y="441650"/>
                    <a:pt x="436211" y="455248"/>
                  </a:cubicBezTo>
                  <a:cubicBezTo>
                    <a:pt x="433491" y="468846"/>
                    <a:pt x="428052" y="479725"/>
                    <a:pt x="425332" y="493323"/>
                  </a:cubicBezTo>
                  <a:cubicBezTo>
                    <a:pt x="422612" y="506921"/>
                    <a:pt x="419893" y="520520"/>
                    <a:pt x="411734" y="531398"/>
                  </a:cubicBezTo>
                  <a:cubicBezTo>
                    <a:pt x="406295" y="539557"/>
                    <a:pt x="395416" y="547716"/>
                    <a:pt x="376378" y="547716"/>
                  </a:cubicBezTo>
                  <a:cubicBezTo>
                    <a:pt x="357341" y="547716"/>
                    <a:pt x="335583" y="539557"/>
                    <a:pt x="319265" y="525959"/>
                  </a:cubicBezTo>
                  <a:cubicBezTo>
                    <a:pt x="300228" y="506921"/>
                    <a:pt x="294788" y="479725"/>
                    <a:pt x="289349" y="455248"/>
                  </a:cubicBezTo>
                  <a:cubicBezTo>
                    <a:pt x="283910" y="428051"/>
                    <a:pt x="278470" y="400855"/>
                    <a:pt x="273031" y="373658"/>
                  </a:cubicBezTo>
                  <a:cubicBezTo>
                    <a:pt x="273031" y="368219"/>
                    <a:pt x="267592" y="346462"/>
                    <a:pt x="262153" y="316545"/>
                  </a:cubicBezTo>
                  <a:cubicBezTo>
                    <a:pt x="256713" y="292068"/>
                    <a:pt x="251274" y="262152"/>
                    <a:pt x="245835" y="237675"/>
                  </a:cubicBezTo>
                  <a:cubicBezTo>
                    <a:pt x="240395" y="218638"/>
                    <a:pt x="237675" y="205039"/>
                    <a:pt x="234956" y="196881"/>
                  </a:cubicBezTo>
                  <a:cubicBezTo>
                    <a:pt x="232236" y="191441"/>
                    <a:pt x="232236" y="191441"/>
                    <a:pt x="232236" y="191441"/>
                  </a:cubicBezTo>
                  <a:cubicBezTo>
                    <a:pt x="229517" y="191441"/>
                    <a:pt x="229517" y="196881"/>
                    <a:pt x="226797" y="207759"/>
                  </a:cubicBezTo>
                  <a:cubicBezTo>
                    <a:pt x="226797" y="215918"/>
                    <a:pt x="226797" y="229516"/>
                    <a:pt x="226797" y="232236"/>
                  </a:cubicBezTo>
                  <a:cubicBezTo>
                    <a:pt x="226797" y="243115"/>
                    <a:pt x="224077" y="256713"/>
                    <a:pt x="224077" y="267592"/>
                  </a:cubicBezTo>
                  <a:cubicBezTo>
                    <a:pt x="224077" y="278470"/>
                    <a:pt x="224077" y="294788"/>
                    <a:pt x="221358" y="311106"/>
                  </a:cubicBezTo>
                  <a:cubicBezTo>
                    <a:pt x="221358" y="327424"/>
                    <a:pt x="218638" y="343742"/>
                    <a:pt x="218638" y="360060"/>
                  </a:cubicBezTo>
                  <a:cubicBezTo>
                    <a:pt x="218638" y="373658"/>
                    <a:pt x="215919" y="384537"/>
                    <a:pt x="215919" y="398135"/>
                  </a:cubicBezTo>
                  <a:cubicBezTo>
                    <a:pt x="215919" y="409014"/>
                    <a:pt x="213199" y="419892"/>
                    <a:pt x="213199" y="430771"/>
                  </a:cubicBezTo>
                  <a:cubicBezTo>
                    <a:pt x="213199" y="438930"/>
                    <a:pt x="213199" y="447089"/>
                    <a:pt x="213199" y="455248"/>
                  </a:cubicBezTo>
                  <a:cubicBezTo>
                    <a:pt x="213199" y="463407"/>
                    <a:pt x="213199" y="471566"/>
                    <a:pt x="213199" y="477005"/>
                  </a:cubicBezTo>
                  <a:cubicBezTo>
                    <a:pt x="210479" y="490603"/>
                    <a:pt x="207759" y="506921"/>
                    <a:pt x="207759" y="520520"/>
                  </a:cubicBezTo>
                  <a:cubicBezTo>
                    <a:pt x="202320" y="550436"/>
                    <a:pt x="199600" y="580352"/>
                    <a:pt x="196881" y="610268"/>
                  </a:cubicBezTo>
                  <a:cubicBezTo>
                    <a:pt x="196881" y="623866"/>
                    <a:pt x="196881" y="640184"/>
                    <a:pt x="194161" y="653783"/>
                  </a:cubicBezTo>
                  <a:cubicBezTo>
                    <a:pt x="194161" y="659222"/>
                    <a:pt x="194161" y="661942"/>
                    <a:pt x="191441" y="667381"/>
                  </a:cubicBezTo>
                  <a:cubicBezTo>
                    <a:pt x="213199" y="667381"/>
                    <a:pt x="232236" y="667381"/>
                    <a:pt x="243115" y="667381"/>
                  </a:cubicBezTo>
                  <a:cubicBezTo>
                    <a:pt x="253994" y="667381"/>
                    <a:pt x="273031" y="670101"/>
                    <a:pt x="273031" y="683699"/>
                  </a:cubicBezTo>
                  <a:cubicBezTo>
                    <a:pt x="273031" y="691858"/>
                    <a:pt x="267592" y="691858"/>
                    <a:pt x="262153" y="697297"/>
                  </a:cubicBezTo>
                  <a:cubicBezTo>
                    <a:pt x="259433" y="702736"/>
                    <a:pt x="253994" y="705456"/>
                    <a:pt x="248554" y="705456"/>
                  </a:cubicBezTo>
                  <a:cubicBezTo>
                    <a:pt x="240395" y="708176"/>
                    <a:pt x="234956" y="708176"/>
                    <a:pt x="232236" y="708176"/>
                  </a:cubicBezTo>
                  <a:cubicBezTo>
                    <a:pt x="226797" y="708176"/>
                    <a:pt x="175124" y="708176"/>
                    <a:pt x="166965" y="708176"/>
                  </a:cubicBezTo>
                  <a:cubicBezTo>
                    <a:pt x="156086" y="708176"/>
                    <a:pt x="120730" y="708176"/>
                    <a:pt x="109852" y="708176"/>
                  </a:cubicBezTo>
                  <a:cubicBezTo>
                    <a:pt x="104412" y="708176"/>
                    <a:pt x="96253" y="708176"/>
                    <a:pt x="90814" y="708176"/>
                  </a:cubicBezTo>
                  <a:cubicBezTo>
                    <a:pt x="85375" y="708176"/>
                    <a:pt x="77216" y="705456"/>
                    <a:pt x="69057" y="702736"/>
                  </a:cubicBezTo>
                  <a:cubicBezTo>
                    <a:pt x="63617" y="700017"/>
                    <a:pt x="58178" y="691858"/>
                    <a:pt x="58178" y="686418"/>
                  </a:cubicBezTo>
                  <a:cubicBezTo>
                    <a:pt x="58178" y="683699"/>
                    <a:pt x="58178" y="680979"/>
                    <a:pt x="60898" y="678259"/>
                  </a:cubicBezTo>
                  <a:cubicBezTo>
                    <a:pt x="63617" y="675540"/>
                    <a:pt x="71777" y="672820"/>
                    <a:pt x="77216" y="670101"/>
                  </a:cubicBezTo>
                  <a:cubicBezTo>
                    <a:pt x="90814" y="667381"/>
                    <a:pt x="120730" y="664661"/>
                    <a:pt x="126170" y="664661"/>
                  </a:cubicBezTo>
                  <a:cubicBezTo>
                    <a:pt x="128889" y="664661"/>
                    <a:pt x="134329" y="664661"/>
                    <a:pt x="142487" y="664661"/>
                  </a:cubicBezTo>
                  <a:cubicBezTo>
                    <a:pt x="142487" y="640184"/>
                    <a:pt x="147927" y="612988"/>
                    <a:pt x="147927" y="588511"/>
                  </a:cubicBezTo>
                  <a:cubicBezTo>
                    <a:pt x="150646" y="555875"/>
                    <a:pt x="153366" y="523239"/>
                    <a:pt x="153366" y="493323"/>
                  </a:cubicBezTo>
                  <a:cubicBezTo>
                    <a:pt x="153366" y="466126"/>
                    <a:pt x="156086" y="438930"/>
                    <a:pt x="156086" y="411733"/>
                  </a:cubicBezTo>
                  <a:cubicBezTo>
                    <a:pt x="158806" y="373658"/>
                    <a:pt x="158806" y="335583"/>
                    <a:pt x="161525" y="297508"/>
                  </a:cubicBezTo>
                  <a:cubicBezTo>
                    <a:pt x="161525" y="278470"/>
                    <a:pt x="164245" y="259433"/>
                    <a:pt x="166965" y="240395"/>
                  </a:cubicBezTo>
                  <a:cubicBezTo>
                    <a:pt x="169684" y="210479"/>
                    <a:pt x="172404" y="191441"/>
                    <a:pt x="177843" y="161525"/>
                  </a:cubicBezTo>
                  <a:cubicBezTo>
                    <a:pt x="180563" y="147927"/>
                    <a:pt x="180563" y="131609"/>
                    <a:pt x="183282" y="118011"/>
                  </a:cubicBezTo>
                  <a:cubicBezTo>
                    <a:pt x="183282" y="118011"/>
                    <a:pt x="183282" y="115291"/>
                    <a:pt x="183282" y="115291"/>
                  </a:cubicBezTo>
                  <a:cubicBezTo>
                    <a:pt x="177843" y="115291"/>
                    <a:pt x="172404" y="115291"/>
                    <a:pt x="161525" y="115291"/>
                  </a:cubicBezTo>
                  <a:cubicBezTo>
                    <a:pt x="153366" y="115291"/>
                    <a:pt x="145207" y="115291"/>
                    <a:pt x="137048" y="115291"/>
                  </a:cubicBezTo>
                  <a:cubicBezTo>
                    <a:pt x="128889" y="115291"/>
                    <a:pt x="118011" y="115291"/>
                    <a:pt x="109852" y="109851"/>
                  </a:cubicBezTo>
                  <a:cubicBezTo>
                    <a:pt x="101693" y="107132"/>
                    <a:pt x="93534" y="98973"/>
                    <a:pt x="93534" y="93534"/>
                  </a:cubicBezTo>
                  <a:cubicBezTo>
                    <a:pt x="93534" y="90814"/>
                    <a:pt x="93534" y="88094"/>
                    <a:pt x="98973" y="85375"/>
                  </a:cubicBezTo>
                  <a:cubicBezTo>
                    <a:pt x="104412" y="82655"/>
                    <a:pt x="115291" y="79935"/>
                    <a:pt x="120730" y="77216"/>
                  </a:cubicBezTo>
                  <a:cubicBezTo>
                    <a:pt x="139768" y="74496"/>
                    <a:pt x="164245" y="71776"/>
                    <a:pt x="172404" y="71776"/>
                  </a:cubicBezTo>
                  <a:cubicBezTo>
                    <a:pt x="194161" y="71776"/>
                    <a:pt x="210479" y="69057"/>
                    <a:pt x="234956" y="69057"/>
                  </a:cubicBezTo>
                  <a:cubicBezTo>
                    <a:pt x="237675" y="69057"/>
                    <a:pt x="240395" y="69057"/>
                    <a:pt x="243115" y="69057"/>
                  </a:cubicBezTo>
                  <a:cubicBezTo>
                    <a:pt x="251274" y="69057"/>
                    <a:pt x="262153" y="69057"/>
                    <a:pt x="270312" y="74496"/>
                  </a:cubicBezTo>
                  <a:cubicBezTo>
                    <a:pt x="283910" y="82655"/>
                    <a:pt x="300228" y="96253"/>
                    <a:pt x="308387" y="123450"/>
                  </a:cubicBezTo>
                  <a:cubicBezTo>
                    <a:pt x="316546" y="147927"/>
                    <a:pt x="327424" y="175123"/>
                    <a:pt x="332864" y="202320"/>
                  </a:cubicBezTo>
                  <a:cubicBezTo>
                    <a:pt x="335583" y="213198"/>
                    <a:pt x="335583" y="226797"/>
                    <a:pt x="338303" y="237675"/>
                  </a:cubicBezTo>
                  <a:cubicBezTo>
                    <a:pt x="343742" y="251274"/>
                    <a:pt x="346462" y="264872"/>
                    <a:pt x="349182" y="281190"/>
                  </a:cubicBezTo>
                  <a:cubicBezTo>
                    <a:pt x="351901" y="292068"/>
                    <a:pt x="351901" y="305667"/>
                    <a:pt x="357341" y="316545"/>
                  </a:cubicBezTo>
                  <a:cubicBezTo>
                    <a:pt x="362780" y="327424"/>
                    <a:pt x="362780" y="338303"/>
                    <a:pt x="365500" y="351901"/>
                  </a:cubicBezTo>
                  <a:cubicBezTo>
                    <a:pt x="365500" y="357340"/>
                    <a:pt x="373658" y="373658"/>
                    <a:pt x="376378" y="389976"/>
                  </a:cubicBezTo>
                  <a:cubicBezTo>
                    <a:pt x="381817" y="403574"/>
                    <a:pt x="384537" y="414453"/>
                    <a:pt x="387257" y="414453"/>
                  </a:cubicBezTo>
                  <a:cubicBezTo>
                    <a:pt x="392696" y="414453"/>
                    <a:pt x="395416" y="381817"/>
                    <a:pt x="398136" y="376378"/>
                  </a:cubicBezTo>
                  <a:cubicBezTo>
                    <a:pt x="400855" y="362779"/>
                    <a:pt x="403575" y="346462"/>
                    <a:pt x="406295" y="332863"/>
                  </a:cubicBezTo>
                  <a:cubicBezTo>
                    <a:pt x="411734" y="302947"/>
                    <a:pt x="417173" y="273031"/>
                    <a:pt x="425332" y="243115"/>
                  </a:cubicBezTo>
                  <a:cubicBezTo>
                    <a:pt x="430771" y="213198"/>
                    <a:pt x="436211" y="180563"/>
                    <a:pt x="444370" y="150646"/>
                  </a:cubicBezTo>
                  <a:cubicBezTo>
                    <a:pt x="449809" y="126170"/>
                    <a:pt x="460688" y="98973"/>
                    <a:pt x="477006" y="79935"/>
                  </a:cubicBezTo>
                  <a:cubicBezTo>
                    <a:pt x="487884" y="66337"/>
                    <a:pt x="506922" y="58178"/>
                    <a:pt x="523240" y="58178"/>
                  </a:cubicBezTo>
                  <a:cubicBezTo>
                    <a:pt x="528679" y="58178"/>
                    <a:pt x="539558" y="58178"/>
                    <a:pt x="544997" y="63617"/>
                  </a:cubicBezTo>
                  <a:lnTo>
                    <a:pt x="612988" y="63617"/>
                  </a:lnTo>
                  <a:cubicBezTo>
                    <a:pt x="626587" y="63617"/>
                    <a:pt x="651064" y="63617"/>
                    <a:pt x="651064" y="79935"/>
                  </a:cubicBezTo>
                  <a:cubicBezTo>
                    <a:pt x="651064" y="88094"/>
                    <a:pt x="648344" y="88094"/>
                    <a:pt x="645624" y="96253"/>
                  </a:cubicBezTo>
                  <a:cubicBezTo>
                    <a:pt x="640185" y="101693"/>
                    <a:pt x="634746" y="104412"/>
                    <a:pt x="629307" y="104412"/>
                  </a:cubicBezTo>
                  <a:cubicBezTo>
                    <a:pt x="621147" y="107132"/>
                    <a:pt x="612988" y="107132"/>
                    <a:pt x="607549" y="107132"/>
                  </a:cubicBezTo>
                  <a:cubicBezTo>
                    <a:pt x="604829" y="107132"/>
                    <a:pt x="591231" y="107132"/>
                    <a:pt x="580353" y="107132"/>
                  </a:cubicBezTo>
                  <a:cubicBezTo>
                    <a:pt x="580353" y="109851"/>
                    <a:pt x="583072" y="112571"/>
                    <a:pt x="583072" y="115291"/>
                  </a:cubicBezTo>
                  <a:cubicBezTo>
                    <a:pt x="585792" y="128889"/>
                    <a:pt x="585792" y="142487"/>
                    <a:pt x="588512" y="156086"/>
                  </a:cubicBezTo>
                  <a:cubicBezTo>
                    <a:pt x="591231" y="169684"/>
                    <a:pt x="591231" y="183282"/>
                    <a:pt x="593951" y="196881"/>
                  </a:cubicBezTo>
                  <a:cubicBezTo>
                    <a:pt x="593951" y="207759"/>
                    <a:pt x="599390" y="215918"/>
                    <a:pt x="599390" y="226797"/>
                  </a:cubicBezTo>
                  <a:cubicBezTo>
                    <a:pt x="599390" y="229516"/>
                    <a:pt x="599390" y="229516"/>
                    <a:pt x="599390" y="232236"/>
                  </a:cubicBezTo>
                  <a:cubicBezTo>
                    <a:pt x="599390" y="234956"/>
                    <a:pt x="599390" y="237675"/>
                    <a:pt x="599390" y="240395"/>
                  </a:cubicBezTo>
                  <a:cubicBezTo>
                    <a:pt x="599390" y="251274"/>
                    <a:pt x="599390" y="259433"/>
                    <a:pt x="602110" y="270311"/>
                  </a:cubicBezTo>
                  <a:cubicBezTo>
                    <a:pt x="604829" y="283909"/>
                    <a:pt x="607549" y="294788"/>
                    <a:pt x="607549" y="308386"/>
                  </a:cubicBezTo>
                  <a:cubicBezTo>
                    <a:pt x="607549" y="311106"/>
                    <a:pt x="607549" y="316545"/>
                    <a:pt x="607549" y="319265"/>
                  </a:cubicBezTo>
                  <a:cubicBezTo>
                    <a:pt x="607549" y="324704"/>
                    <a:pt x="610269" y="330144"/>
                    <a:pt x="612988" y="335583"/>
                  </a:cubicBezTo>
                  <a:cubicBezTo>
                    <a:pt x="612988" y="338303"/>
                    <a:pt x="612988" y="343742"/>
                    <a:pt x="612988" y="346462"/>
                  </a:cubicBezTo>
                  <a:cubicBezTo>
                    <a:pt x="612988" y="354620"/>
                    <a:pt x="612988" y="362779"/>
                    <a:pt x="612988" y="370939"/>
                  </a:cubicBezTo>
                  <a:cubicBezTo>
                    <a:pt x="612988" y="379097"/>
                    <a:pt x="612988" y="387256"/>
                    <a:pt x="612988" y="395415"/>
                  </a:cubicBezTo>
                  <a:cubicBezTo>
                    <a:pt x="612988" y="403574"/>
                    <a:pt x="615708" y="414453"/>
                    <a:pt x="615708" y="422612"/>
                  </a:cubicBezTo>
                  <a:cubicBezTo>
                    <a:pt x="618428" y="430771"/>
                    <a:pt x="618428" y="436210"/>
                    <a:pt x="618428" y="441650"/>
                  </a:cubicBezTo>
                  <a:cubicBezTo>
                    <a:pt x="618428" y="444369"/>
                    <a:pt x="618428" y="449808"/>
                    <a:pt x="618428" y="455248"/>
                  </a:cubicBezTo>
                  <a:cubicBezTo>
                    <a:pt x="618428" y="460687"/>
                    <a:pt x="618428" y="460687"/>
                    <a:pt x="621147" y="463407"/>
                  </a:cubicBezTo>
                  <a:cubicBezTo>
                    <a:pt x="623867" y="471566"/>
                    <a:pt x="623867" y="477005"/>
                    <a:pt x="626587" y="482444"/>
                  </a:cubicBezTo>
                  <a:cubicBezTo>
                    <a:pt x="629307" y="493323"/>
                    <a:pt x="629307" y="506921"/>
                    <a:pt x="629307" y="517800"/>
                  </a:cubicBezTo>
                  <a:cubicBezTo>
                    <a:pt x="632026" y="534118"/>
                    <a:pt x="632026" y="547716"/>
                    <a:pt x="634746" y="561314"/>
                  </a:cubicBezTo>
                  <a:cubicBezTo>
                    <a:pt x="634746" y="564034"/>
                    <a:pt x="634746" y="564034"/>
                    <a:pt x="634746" y="566754"/>
                  </a:cubicBezTo>
                  <a:cubicBezTo>
                    <a:pt x="634746" y="572193"/>
                    <a:pt x="634746" y="577632"/>
                    <a:pt x="634746" y="583072"/>
                  </a:cubicBezTo>
                  <a:cubicBezTo>
                    <a:pt x="634746" y="596670"/>
                    <a:pt x="637466" y="602109"/>
                    <a:pt x="637466" y="607548"/>
                  </a:cubicBezTo>
                  <a:cubicBezTo>
                    <a:pt x="637466" y="610268"/>
                    <a:pt x="640185" y="615708"/>
                    <a:pt x="640185" y="618427"/>
                  </a:cubicBezTo>
                  <a:cubicBezTo>
                    <a:pt x="640185" y="623866"/>
                    <a:pt x="640185" y="629306"/>
                    <a:pt x="640185" y="632025"/>
                  </a:cubicBezTo>
                  <a:cubicBezTo>
                    <a:pt x="640185" y="634745"/>
                    <a:pt x="640185" y="637465"/>
                    <a:pt x="640185" y="640184"/>
                  </a:cubicBezTo>
                  <a:cubicBezTo>
                    <a:pt x="640185" y="645624"/>
                    <a:pt x="642905" y="653783"/>
                    <a:pt x="642905" y="659222"/>
                  </a:cubicBezTo>
                  <a:cubicBezTo>
                    <a:pt x="642905" y="661942"/>
                    <a:pt x="642905" y="661942"/>
                    <a:pt x="642905" y="664661"/>
                  </a:cubicBezTo>
                  <a:cubicBezTo>
                    <a:pt x="645624" y="678259"/>
                    <a:pt x="651064" y="678259"/>
                    <a:pt x="653783" y="678259"/>
                  </a:cubicBezTo>
                  <a:lnTo>
                    <a:pt x="653783" y="678259"/>
                  </a:lnTo>
                  <a:close/>
                </a:path>
              </a:pathLst>
            </a:custGeom>
            <a:grpFill/>
            <a:ln w="27168"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AD9EB5AC-1B66-4CE0-B4AA-2AB2795446E2}"/>
                </a:ext>
              </a:extLst>
            </p:cNvPr>
            <p:cNvSpPr/>
            <p:nvPr/>
          </p:nvSpPr>
          <p:spPr>
            <a:xfrm>
              <a:off x="6362526" y="4242177"/>
              <a:ext cx="492259" cy="674476"/>
            </a:xfrm>
            <a:custGeom>
              <a:avLst/>
              <a:gdLst>
                <a:gd name="connsiteX0" fmla="*/ 225733 w 492259"/>
                <a:gd name="connsiteY0" fmla="*/ 97907 h 674476"/>
                <a:gd name="connsiteX1" fmla="*/ 209415 w 492259"/>
                <a:gd name="connsiteY1" fmla="*/ 119665 h 674476"/>
                <a:gd name="connsiteX2" fmla="*/ 201256 w 492259"/>
                <a:gd name="connsiteY2" fmla="*/ 152300 h 674476"/>
                <a:gd name="connsiteX3" fmla="*/ 198536 w 492259"/>
                <a:gd name="connsiteY3" fmla="*/ 168618 h 674476"/>
                <a:gd name="connsiteX4" fmla="*/ 195817 w 492259"/>
                <a:gd name="connsiteY4" fmla="*/ 184936 h 674476"/>
                <a:gd name="connsiteX5" fmla="*/ 187658 w 492259"/>
                <a:gd name="connsiteY5" fmla="*/ 220292 h 674476"/>
                <a:gd name="connsiteX6" fmla="*/ 168620 w 492259"/>
                <a:gd name="connsiteY6" fmla="*/ 291003 h 674476"/>
                <a:gd name="connsiteX7" fmla="*/ 160461 w 492259"/>
                <a:gd name="connsiteY7" fmla="*/ 323639 h 674476"/>
                <a:gd name="connsiteX8" fmla="*/ 149582 w 492259"/>
                <a:gd name="connsiteY8" fmla="*/ 361714 h 674476"/>
                <a:gd name="connsiteX9" fmla="*/ 144143 w 492259"/>
                <a:gd name="connsiteY9" fmla="*/ 388910 h 674476"/>
                <a:gd name="connsiteX10" fmla="*/ 149582 w 492259"/>
                <a:gd name="connsiteY10" fmla="*/ 391630 h 674476"/>
                <a:gd name="connsiteX11" fmla="*/ 171340 w 492259"/>
                <a:gd name="connsiteY11" fmla="*/ 391630 h 674476"/>
                <a:gd name="connsiteX12" fmla="*/ 193097 w 492259"/>
                <a:gd name="connsiteY12" fmla="*/ 388910 h 674476"/>
                <a:gd name="connsiteX13" fmla="*/ 212135 w 492259"/>
                <a:gd name="connsiteY13" fmla="*/ 388910 h 674476"/>
                <a:gd name="connsiteX14" fmla="*/ 236611 w 492259"/>
                <a:gd name="connsiteY14" fmla="*/ 388910 h 674476"/>
                <a:gd name="connsiteX15" fmla="*/ 250210 w 492259"/>
                <a:gd name="connsiteY15" fmla="*/ 386191 h 674476"/>
                <a:gd name="connsiteX16" fmla="*/ 258369 w 492259"/>
                <a:gd name="connsiteY16" fmla="*/ 386191 h 674476"/>
                <a:gd name="connsiteX17" fmla="*/ 255649 w 492259"/>
                <a:gd name="connsiteY17" fmla="*/ 367153 h 674476"/>
                <a:gd name="connsiteX18" fmla="*/ 250210 w 492259"/>
                <a:gd name="connsiteY18" fmla="*/ 331797 h 674476"/>
                <a:gd name="connsiteX19" fmla="*/ 247490 w 492259"/>
                <a:gd name="connsiteY19" fmla="*/ 244769 h 674476"/>
                <a:gd name="connsiteX20" fmla="*/ 242051 w 492259"/>
                <a:gd name="connsiteY20" fmla="*/ 203974 h 674476"/>
                <a:gd name="connsiteX21" fmla="*/ 236611 w 492259"/>
                <a:gd name="connsiteY21" fmla="*/ 157740 h 674476"/>
                <a:gd name="connsiteX22" fmla="*/ 233892 w 492259"/>
                <a:gd name="connsiteY22" fmla="*/ 119665 h 674476"/>
                <a:gd name="connsiteX23" fmla="*/ 225733 w 492259"/>
                <a:gd name="connsiteY23" fmla="*/ 97907 h 674476"/>
                <a:gd name="connsiteX24" fmla="*/ 274687 w 492259"/>
                <a:gd name="connsiteY24" fmla="*/ 0 h 674476"/>
                <a:gd name="connsiteX25" fmla="*/ 304603 w 492259"/>
                <a:gd name="connsiteY25" fmla="*/ 5439 h 674476"/>
                <a:gd name="connsiteX26" fmla="*/ 320921 w 492259"/>
                <a:gd name="connsiteY26" fmla="*/ 24477 h 674476"/>
                <a:gd name="connsiteX27" fmla="*/ 334519 w 492259"/>
                <a:gd name="connsiteY27" fmla="*/ 43515 h 674476"/>
                <a:gd name="connsiteX28" fmla="*/ 339959 w 492259"/>
                <a:gd name="connsiteY28" fmla="*/ 65272 h 674476"/>
                <a:gd name="connsiteX29" fmla="*/ 348118 w 492259"/>
                <a:gd name="connsiteY29" fmla="*/ 114226 h 674476"/>
                <a:gd name="connsiteX30" fmla="*/ 361716 w 492259"/>
                <a:gd name="connsiteY30" fmla="*/ 163180 h 674476"/>
                <a:gd name="connsiteX31" fmla="*/ 369875 w 492259"/>
                <a:gd name="connsiteY31" fmla="*/ 220293 h 674476"/>
                <a:gd name="connsiteX32" fmla="*/ 378034 w 492259"/>
                <a:gd name="connsiteY32" fmla="*/ 274686 h 674476"/>
                <a:gd name="connsiteX33" fmla="*/ 383473 w 492259"/>
                <a:gd name="connsiteY33" fmla="*/ 301883 h 674476"/>
                <a:gd name="connsiteX34" fmla="*/ 391632 w 492259"/>
                <a:gd name="connsiteY34" fmla="*/ 337238 h 674476"/>
                <a:gd name="connsiteX35" fmla="*/ 397071 w 492259"/>
                <a:gd name="connsiteY35" fmla="*/ 364435 h 674476"/>
                <a:gd name="connsiteX36" fmla="*/ 405230 w 492259"/>
                <a:gd name="connsiteY36" fmla="*/ 383473 h 674476"/>
                <a:gd name="connsiteX37" fmla="*/ 416109 w 492259"/>
                <a:gd name="connsiteY37" fmla="*/ 386192 h 674476"/>
                <a:gd name="connsiteX38" fmla="*/ 426988 w 492259"/>
                <a:gd name="connsiteY38" fmla="*/ 386192 h 674476"/>
                <a:gd name="connsiteX39" fmla="*/ 454184 w 492259"/>
                <a:gd name="connsiteY39" fmla="*/ 397071 h 674476"/>
                <a:gd name="connsiteX40" fmla="*/ 456904 w 492259"/>
                <a:gd name="connsiteY40" fmla="*/ 405230 h 674476"/>
                <a:gd name="connsiteX41" fmla="*/ 451464 w 492259"/>
                <a:gd name="connsiteY41" fmla="*/ 416108 h 674476"/>
                <a:gd name="connsiteX42" fmla="*/ 432427 w 492259"/>
                <a:gd name="connsiteY42" fmla="*/ 429707 h 674476"/>
                <a:gd name="connsiteX43" fmla="*/ 421548 w 492259"/>
                <a:gd name="connsiteY43" fmla="*/ 432426 h 674476"/>
                <a:gd name="connsiteX44" fmla="*/ 413389 w 492259"/>
                <a:gd name="connsiteY44" fmla="*/ 435146 h 674476"/>
                <a:gd name="connsiteX45" fmla="*/ 413389 w 492259"/>
                <a:gd name="connsiteY45" fmla="*/ 440585 h 674476"/>
                <a:gd name="connsiteX46" fmla="*/ 416109 w 492259"/>
                <a:gd name="connsiteY46" fmla="*/ 451464 h 674476"/>
                <a:gd name="connsiteX47" fmla="*/ 418829 w 492259"/>
                <a:gd name="connsiteY47" fmla="*/ 465062 h 674476"/>
                <a:gd name="connsiteX48" fmla="*/ 418829 w 492259"/>
                <a:gd name="connsiteY48" fmla="*/ 475941 h 674476"/>
                <a:gd name="connsiteX49" fmla="*/ 418829 w 492259"/>
                <a:gd name="connsiteY49" fmla="*/ 486820 h 674476"/>
                <a:gd name="connsiteX50" fmla="*/ 426988 w 492259"/>
                <a:gd name="connsiteY50" fmla="*/ 516736 h 674476"/>
                <a:gd name="connsiteX51" fmla="*/ 432427 w 492259"/>
                <a:gd name="connsiteY51" fmla="*/ 543932 h 674476"/>
                <a:gd name="connsiteX52" fmla="*/ 437866 w 492259"/>
                <a:gd name="connsiteY52" fmla="*/ 573848 h 674476"/>
                <a:gd name="connsiteX53" fmla="*/ 443306 w 492259"/>
                <a:gd name="connsiteY53" fmla="*/ 606484 h 674476"/>
                <a:gd name="connsiteX54" fmla="*/ 446025 w 492259"/>
                <a:gd name="connsiteY54" fmla="*/ 617363 h 674476"/>
                <a:gd name="connsiteX55" fmla="*/ 470502 w 492259"/>
                <a:gd name="connsiteY55" fmla="*/ 617363 h 674476"/>
                <a:gd name="connsiteX56" fmla="*/ 492259 w 492259"/>
                <a:gd name="connsiteY56" fmla="*/ 641840 h 674476"/>
                <a:gd name="connsiteX57" fmla="*/ 484101 w 492259"/>
                <a:gd name="connsiteY57" fmla="*/ 655438 h 674476"/>
                <a:gd name="connsiteX58" fmla="*/ 467782 w 492259"/>
                <a:gd name="connsiteY58" fmla="*/ 663597 h 674476"/>
                <a:gd name="connsiteX59" fmla="*/ 443306 w 492259"/>
                <a:gd name="connsiteY59" fmla="*/ 666317 h 674476"/>
                <a:gd name="connsiteX60" fmla="*/ 421548 w 492259"/>
                <a:gd name="connsiteY60" fmla="*/ 666317 h 674476"/>
                <a:gd name="connsiteX61" fmla="*/ 413389 w 492259"/>
                <a:gd name="connsiteY61" fmla="*/ 666317 h 674476"/>
                <a:gd name="connsiteX62" fmla="*/ 399791 w 492259"/>
                <a:gd name="connsiteY62" fmla="*/ 671756 h 674476"/>
                <a:gd name="connsiteX63" fmla="*/ 383473 w 492259"/>
                <a:gd name="connsiteY63" fmla="*/ 674476 h 674476"/>
                <a:gd name="connsiteX64" fmla="*/ 348118 w 492259"/>
                <a:gd name="connsiteY64" fmla="*/ 669036 h 674476"/>
                <a:gd name="connsiteX65" fmla="*/ 326360 w 492259"/>
                <a:gd name="connsiteY65" fmla="*/ 669036 h 674476"/>
                <a:gd name="connsiteX66" fmla="*/ 277406 w 492259"/>
                <a:gd name="connsiteY66" fmla="*/ 669036 h 674476"/>
                <a:gd name="connsiteX67" fmla="*/ 252930 w 492259"/>
                <a:gd name="connsiteY67" fmla="*/ 663597 h 674476"/>
                <a:gd name="connsiteX68" fmla="*/ 236611 w 492259"/>
                <a:gd name="connsiteY68" fmla="*/ 647279 h 674476"/>
                <a:gd name="connsiteX69" fmla="*/ 261088 w 492259"/>
                <a:gd name="connsiteY69" fmla="*/ 630961 h 674476"/>
                <a:gd name="connsiteX70" fmla="*/ 288285 w 492259"/>
                <a:gd name="connsiteY70" fmla="*/ 628241 h 674476"/>
                <a:gd name="connsiteX71" fmla="*/ 285565 w 492259"/>
                <a:gd name="connsiteY71" fmla="*/ 609204 h 674476"/>
                <a:gd name="connsiteX72" fmla="*/ 282846 w 492259"/>
                <a:gd name="connsiteY72" fmla="*/ 582007 h 674476"/>
                <a:gd name="connsiteX73" fmla="*/ 280126 w 492259"/>
                <a:gd name="connsiteY73" fmla="*/ 568409 h 674476"/>
                <a:gd name="connsiteX74" fmla="*/ 282846 w 492259"/>
                <a:gd name="connsiteY74" fmla="*/ 554811 h 674476"/>
                <a:gd name="connsiteX75" fmla="*/ 277406 w 492259"/>
                <a:gd name="connsiteY75" fmla="*/ 538493 h 674476"/>
                <a:gd name="connsiteX76" fmla="*/ 271967 w 492259"/>
                <a:gd name="connsiteY76" fmla="*/ 505857 h 674476"/>
                <a:gd name="connsiteX77" fmla="*/ 269247 w 492259"/>
                <a:gd name="connsiteY77" fmla="*/ 478660 h 674476"/>
                <a:gd name="connsiteX78" fmla="*/ 266528 w 492259"/>
                <a:gd name="connsiteY78" fmla="*/ 446025 h 674476"/>
                <a:gd name="connsiteX79" fmla="*/ 261088 w 492259"/>
                <a:gd name="connsiteY79" fmla="*/ 437866 h 674476"/>
                <a:gd name="connsiteX80" fmla="*/ 250210 w 492259"/>
                <a:gd name="connsiteY80" fmla="*/ 437866 h 674476"/>
                <a:gd name="connsiteX81" fmla="*/ 220293 w 492259"/>
                <a:gd name="connsiteY81" fmla="*/ 440585 h 674476"/>
                <a:gd name="connsiteX82" fmla="*/ 190377 w 492259"/>
                <a:gd name="connsiteY82" fmla="*/ 443305 h 674476"/>
                <a:gd name="connsiteX83" fmla="*/ 165900 w 492259"/>
                <a:gd name="connsiteY83" fmla="*/ 443305 h 674476"/>
                <a:gd name="connsiteX84" fmla="*/ 144143 w 492259"/>
                <a:gd name="connsiteY84" fmla="*/ 440585 h 674476"/>
                <a:gd name="connsiteX85" fmla="*/ 135984 w 492259"/>
                <a:gd name="connsiteY85" fmla="*/ 454184 h 674476"/>
                <a:gd name="connsiteX86" fmla="*/ 130545 w 492259"/>
                <a:gd name="connsiteY86" fmla="*/ 486820 h 674476"/>
                <a:gd name="connsiteX87" fmla="*/ 119666 w 492259"/>
                <a:gd name="connsiteY87" fmla="*/ 541213 h 674476"/>
                <a:gd name="connsiteX88" fmla="*/ 103348 w 492259"/>
                <a:gd name="connsiteY88" fmla="*/ 614643 h 674476"/>
                <a:gd name="connsiteX89" fmla="*/ 133264 w 492259"/>
                <a:gd name="connsiteY89" fmla="*/ 614643 h 674476"/>
                <a:gd name="connsiteX90" fmla="*/ 168620 w 492259"/>
                <a:gd name="connsiteY90" fmla="*/ 630961 h 674476"/>
                <a:gd name="connsiteX91" fmla="*/ 163181 w 492259"/>
                <a:gd name="connsiteY91" fmla="*/ 647279 h 674476"/>
                <a:gd name="connsiteX92" fmla="*/ 146863 w 492259"/>
                <a:gd name="connsiteY92" fmla="*/ 655438 h 674476"/>
                <a:gd name="connsiteX93" fmla="*/ 127825 w 492259"/>
                <a:gd name="connsiteY93" fmla="*/ 658158 h 674476"/>
                <a:gd name="connsiteX94" fmla="*/ 106068 w 492259"/>
                <a:gd name="connsiteY94" fmla="*/ 658158 h 674476"/>
                <a:gd name="connsiteX95" fmla="*/ 62552 w 492259"/>
                <a:gd name="connsiteY95" fmla="*/ 658158 h 674476"/>
                <a:gd name="connsiteX96" fmla="*/ 40795 w 492259"/>
                <a:gd name="connsiteY96" fmla="*/ 658158 h 674476"/>
                <a:gd name="connsiteX97" fmla="*/ 16318 w 492259"/>
                <a:gd name="connsiteY97" fmla="*/ 652718 h 674476"/>
                <a:gd name="connsiteX98" fmla="*/ 0 w 492259"/>
                <a:gd name="connsiteY98" fmla="*/ 636401 h 674476"/>
                <a:gd name="connsiteX99" fmla="*/ 2720 w 492259"/>
                <a:gd name="connsiteY99" fmla="*/ 628241 h 674476"/>
                <a:gd name="connsiteX100" fmla="*/ 24477 w 492259"/>
                <a:gd name="connsiteY100" fmla="*/ 620082 h 674476"/>
                <a:gd name="connsiteX101" fmla="*/ 62552 w 492259"/>
                <a:gd name="connsiteY101" fmla="*/ 617363 h 674476"/>
                <a:gd name="connsiteX102" fmla="*/ 62552 w 492259"/>
                <a:gd name="connsiteY102" fmla="*/ 614643 h 674476"/>
                <a:gd name="connsiteX103" fmla="*/ 65272 w 492259"/>
                <a:gd name="connsiteY103" fmla="*/ 587447 h 674476"/>
                <a:gd name="connsiteX104" fmla="*/ 76151 w 492259"/>
                <a:gd name="connsiteY104" fmla="*/ 522175 h 674476"/>
                <a:gd name="connsiteX105" fmla="*/ 87029 w 492259"/>
                <a:gd name="connsiteY105" fmla="*/ 470501 h 674476"/>
                <a:gd name="connsiteX106" fmla="*/ 92468 w 492259"/>
                <a:gd name="connsiteY106" fmla="*/ 446025 h 674476"/>
                <a:gd name="connsiteX107" fmla="*/ 65272 w 492259"/>
                <a:gd name="connsiteY107" fmla="*/ 432426 h 674476"/>
                <a:gd name="connsiteX108" fmla="*/ 54393 w 492259"/>
                <a:gd name="connsiteY108" fmla="*/ 421548 h 674476"/>
                <a:gd name="connsiteX109" fmla="*/ 73431 w 492259"/>
                <a:gd name="connsiteY109" fmla="*/ 407949 h 674476"/>
                <a:gd name="connsiteX110" fmla="*/ 100629 w 492259"/>
                <a:gd name="connsiteY110" fmla="*/ 399790 h 674476"/>
                <a:gd name="connsiteX111" fmla="*/ 108788 w 492259"/>
                <a:gd name="connsiteY111" fmla="*/ 369874 h 674476"/>
                <a:gd name="connsiteX112" fmla="*/ 125105 w 492259"/>
                <a:gd name="connsiteY112" fmla="*/ 307322 h 674476"/>
                <a:gd name="connsiteX113" fmla="*/ 141423 w 492259"/>
                <a:gd name="connsiteY113" fmla="*/ 242051 h 674476"/>
                <a:gd name="connsiteX114" fmla="*/ 155022 w 492259"/>
                <a:gd name="connsiteY114" fmla="*/ 179498 h 674476"/>
                <a:gd name="connsiteX115" fmla="*/ 168620 w 492259"/>
                <a:gd name="connsiteY115" fmla="*/ 119665 h 674476"/>
                <a:gd name="connsiteX116" fmla="*/ 193097 w 492259"/>
                <a:gd name="connsiteY116" fmla="*/ 57113 h 674476"/>
                <a:gd name="connsiteX117" fmla="*/ 201256 w 492259"/>
                <a:gd name="connsiteY117" fmla="*/ 38075 h 674476"/>
                <a:gd name="connsiteX118" fmla="*/ 217574 w 492259"/>
                <a:gd name="connsiteY118" fmla="*/ 13598 h 674476"/>
                <a:gd name="connsiteX119" fmla="*/ 274687 w 492259"/>
                <a:gd name="connsiteY119" fmla="*/ 0 h 674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92259" h="674476">
                  <a:moveTo>
                    <a:pt x="225733" y="97907"/>
                  </a:moveTo>
                  <a:cubicBezTo>
                    <a:pt x="217574" y="97907"/>
                    <a:pt x="209415" y="114225"/>
                    <a:pt x="209415" y="119665"/>
                  </a:cubicBezTo>
                  <a:cubicBezTo>
                    <a:pt x="206695" y="130543"/>
                    <a:pt x="203976" y="144141"/>
                    <a:pt x="201256" y="152300"/>
                  </a:cubicBezTo>
                  <a:cubicBezTo>
                    <a:pt x="198536" y="157740"/>
                    <a:pt x="198536" y="163179"/>
                    <a:pt x="198536" y="168618"/>
                  </a:cubicBezTo>
                  <a:cubicBezTo>
                    <a:pt x="198536" y="174058"/>
                    <a:pt x="195817" y="179497"/>
                    <a:pt x="195817" y="184936"/>
                  </a:cubicBezTo>
                  <a:cubicBezTo>
                    <a:pt x="193097" y="195815"/>
                    <a:pt x="190377" y="209413"/>
                    <a:pt x="187658" y="220292"/>
                  </a:cubicBezTo>
                  <a:cubicBezTo>
                    <a:pt x="184938" y="244769"/>
                    <a:pt x="176779" y="269246"/>
                    <a:pt x="168620" y="291003"/>
                  </a:cubicBezTo>
                  <a:cubicBezTo>
                    <a:pt x="165900" y="301881"/>
                    <a:pt x="163181" y="312760"/>
                    <a:pt x="160461" y="323639"/>
                  </a:cubicBezTo>
                  <a:cubicBezTo>
                    <a:pt x="157742" y="337237"/>
                    <a:pt x="155022" y="348115"/>
                    <a:pt x="149582" y="361714"/>
                  </a:cubicBezTo>
                  <a:cubicBezTo>
                    <a:pt x="146863" y="367153"/>
                    <a:pt x="144143" y="383471"/>
                    <a:pt x="144143" y="388910"/>
                  </a:cubicBezTo>
                  <a:cubicBezTo>
                    <a:pt x="144143" y="391630"/>
                    <a:pt x="146863" y="391630"/>
                    <a:pt x="149582" y="391630"/>
                  </a:cubicBezTo>
                  <a:cubicBezTo>
                    <a:pt x="155022" y="391630"/>
                    <a:pt x="168620" y="391630"/>
                    <a:pt x="171340" y="391630"/>
                  </a:cubicBezTo>
                  <a:cubicBezTo>
                    <a:pt x="179498" y="391630"/>
                    <a:pt x="187658" y="391630"/>
                    <a:pt x="193097" y="388910"/>
                  </a:cubicBezTo>
                  <a:cubicBezTo>
                    <a:pt x="198536" y="388910"/>
                    <a:pt x="203976" y="388910"/>
                    <a:pt x="212135" y="388910"/>
                  </a:cubicBezTo>
                  <a:cubicBezTo>
                    <a:pt x="217574" y="388910"/>
                    <a:pt x="225733" y="388910"/>
                    <a:pt x="236611" y="388910"/>
                  </a:cubicBezTo>
                  <a:cubicBezTo>
                    <a:pt x="242051" y="388910"/>
                    <a:pt x="247490" y="388910"/>
                    <a:pt x="250210" y="386191"/>
                  </a:cubicBezTo>
                  <a:cubicBezTo>
                    <a:pt x="255649" y="391630"/>
                    <a:pt x="258369" y="388910"/>
                    <a:pt x="258369" y="386191"/>
                  </a:cubicBezTo>
                  <a:cubicBezTo>
                    <a:pt x="258369" y="380751"/>
                    <a:pt x="255649" y="372592"/>
                    <a:pt x="255649" y="367153"/>
                  </a:cubicBezTo>
                  <a:cubicBezTo>
                    <a:pt x="252930" y="353555"/>
                    <a:pt x="250210" y="342676"/>
                    <a:pt x="250210" y="331797"/>
                  </a:cubicBezTo>
                  <a:cubicBezTo>
                    <a:pt x="250210" y="301881"/>
                    <a:pt x="250210" y="274685"/>
                    <a:pt x="247490" y="244769"/>
                  </a:cubicBezTo>
                  <a:cubicBezTo>
                    <a:pt x="247490" y="231170"/>
                    <a:pt x="244771" y="217572"/>
                    <a:pt x="242051" y="203974"/>
                  </a:cubicBezTo>
                  <a:cubicBezTo>
                    <a:pt x="239331" y="187656"/>
                    <a:pt x="236611" y="174058"/>
                    <a:pt x="236611" y="157740"/>
                  </a:cubicBezTo>
                  <a:cubicBezTo>
                    <a:pt x="236611" y="152300"/>
                    <a:pt x="236611" y="133263"/>
                    <a:pt x="233892" y="119665"/>
                  </a:cubicBezTo>
                  <a:cubicBezTo>
                    <a:pt x="233892" y="106066"/>
                    <a:pt x="231172" y="97907"/>
                    <a:pt x="225733" y="97907"/>
                  </a:cubicBezTo>
                  <a:close/>
                  <a:moveTo>
                    <a:pt x="274687" y="0"/>
                  </a:moveTo>
                  <a:cubicBezTo>
                    <a:pt x="288285" y="0"/>
                    <a:pt x="293724" y="2720"/>
                    <a:pt x="304603" y="5439"/>
                  </a:cubicBezTo>
                  <a:cubicBezTo>
                    <a:pt x="315481" y="10879"/>
                    <a:pt x="315481" y="16318"/>
                    <a:pt x="320921" y="24477"/>
                  </a:cubicBezTo>
                  <a:cubicBezTo>
                    <a:pt x="326360" y="29916"/>
                    <a:pt x="331800" y="35356"/>
                    <a:pt x="334519" y="43515"/>
                  </a:cubicBezTo>
                  <a:cubicBezTo>
                    <a:pt x="337239" y="51674"/>
                    <a:pt x="337239" y="57113"/>
                    <a:pt x="339959" y="65272"/>
                  </a:cubicBezTo>
                  <a:cubicBezTo>
                    <a:pt x="345398" y="78870"/>
                    <a:pt x="342678" y="97908"/>
                    <a:pt x="348118" y="114226"/>
                  </a:cubicBezTo>
                  <a:cubicBezTo>
                    <a:pt x="350837" y="130544"/>
                    <a:pt x="358996" y="146863"/>
                    <a:pt x="361716" y="163180"/>
                  </a:cubicBezTo>
                  <a:cubicBezTo>
                    <a:pt x="364435" y="182218"/>
                    <a:pt x="364435" y="201256"/>
                    <a:pt x="369875" y="220293"/>
                  </a:cubicBezTo>
                  <a:cubicBezTo>
                    <a:pt x="375314" y="239331"/>
                    <a:pt x="378034" y="255649"/>
                    <a:pt x="378034" y="274686"/>
                  </a:cubicBezTo>
                  <a:cubicBezTo>
                    <a:pt x="378034" y="282845"/>
                    <a:pt x="380753" y="293724"/>
                    <a:pt x="383473" y="301883"/>
                  </a:cubicBezTo>
                  <a:cubicBezTo>
                    <a:pt x="386193" y="312762"/>
                    <a:pt x="388913" y="326360"/>
                    <a:pt x="391632" y="337238"/>
                  </a:cubicBezTo>
                  <a:cubicBezTo>
                    <a:pt x="391632" y="342678"/>
                    <a:pt x="394352" y="353556"/>
                    <a:pt x="397071" y="364435"/>
                  </a:cubicBezTo>
                  <a:cubicBezTo>
                    <a:pt x="399791" y="372594"/>
                    <a:pt x="402511" y="380753"/>
                    <a:pt x="405230" y="383473"/>
                  </a:cubicBezTo>
                  <a:cubicBezTo>
                    <a:pt x="407950" y="386192"/>
                    <a:pt x="413389" y="386192"/>
                    <a:pt x="416109" y="386192"/>
                  </a:cubicBezTo>
                  <a:cubicBezTo>
                    <a:pt x="418829" y="386192"/>
                    <a:pt x="424268" y="386192"/>
                    <a:pt x="426988" y="386192"/>
                  </a:cubicBezTo>
                  <a:cubicBezTo>
                    <a:pt x="437866" y="386192"/>
                    <a:pt x="448745" y="388912"/>
                    <a:pt x="454184" y="397071"/>
                  </a:cubicBezTo>
                  <a:cubicBezTo>
                    <a:pt x="456904" y="399790"/>
                    <a:pt x="456904" y="402510"/>
                    <a:pt x="456904" y="405230"/>
                  </a:cubicBezTo>
                  <a:cubicBezTo>
                    <a:pt x="456904" y="407949"/>
                    <a:pt x="454184" y="410669"/>
                    <a:pt x="451464" y="416108"/>
                  </a:cubicBezTo>
                  <a:cubicBezTo>
                    <a:pt x="446025" y="421548"/>
                    <a:pt x="440586" y="426987"/>
                    <a:pt x="432427" y="429707"/>
                  </a:cubicBezTo>
                  <a:cubicBezTo>
                    <a:pt x="429707" y="429707"/>
                    <a:pt x="426988" y="432426"/>
                    <a:pt x="421548" y="432426"/>
                  </a:cubicBezTo>
                  <a:cubicBezTo>
                    <a:pt x="418829" y="432426"/>
                    <a:pt x="416109" y="432426"/>
                    <a:pt x="413389" y="435146"/>
                  </a:cubicBezTo>
                  <a:cubicBezTo>
                    <a:pt x="413389" y="435146"/>
                    <a:pt x="413389" y="437866"/>
                    <a:pt x="413389" y="440585"/>
                  </a:cubicBezTo>
                  <a:cubicBezTo>
                    <a:pt x="413389" y="443305"/>
                    <a:pt x="413389" y="448744"/>
                    <a:pt x="416109" y="451464"/>
                  </a:cubicBezTo>
                  <a:cubicBezTo>
                    <a:pt x="416109" y="456903"/>
                    <a:pt x="418829" y="462343"/>
                    <a:pt x="418829" y="465062"/>
                  </a:cubicBezTo>
                  <a:lnTo>
                    <a:pt x="418829" y="475941"/>
                  </a:lnTo>
                  <a:cubicBezTo>
                    <a:pt x="418829" y="481380"/>
                    <a:pt x="418829" y="484100"/>
                    <a:pt x="418829" y="486820"/>
                  </a:cubicBezTo>
                  <a:cubicBezTo>
                    <a:pt x="421548" y="497698"/>
                    <a:pt x="424268" y="505857"/>
                    <a:pt x="426988" y="516736"/>
                  </a:cubicBezTo>
                  <a:cubicBezTo>
                    <a:pt x="426988" y="524895"/>
                    <a:pt x="429707" y="535773"/>
                    <a:pt x="432427" y="543932"/>
                  </a:cubicBezTo>
                  <a:cubicBezTo>
                    <a:pt x="435147" y="554811"/>
                    <a:pt x="437866" y="562970"/>
                    <a:pt x="437866" y="573848"/>
                  </a:cubicBezTo>
                  <a:cubicBezTo>
                    <a:pt x="437866" y="587447"/>
                    <a:pt x="440586" y="595606"/>
                    <a:pt x="443306" y="606484"/>
                  </a:cubicBezTo>
                  <a:cubicBezTo>
                    <a:pt x="443306" y="609204"/>
                    <a:pt x="446025" y="614643"/>
                    <a:pt x="446025" y="617363"/>
                  </a:cubicBezTo>
                  <a:cubicBezTo>
                    <a:pt x="454184" y="617363"/>
                    <a:pt x="462343" y="617363"/>
                    <a:pt x="470502" y="617363"/>
                  </a:cubicBezTo>
                  <a:cubicBezTo>
                    <a:pt x="475942" y="625522"/>
                    <a:pt x="492259" y="630961"/>
                    <a:pt x="492259" y="641840"/>
                  </a:cubicBezTo>
                  <a:cubicBezTo>
                    <a:pt x="492259" y="647279"/>
                    <a:pt x="486820" y="649999"/>
                    <a:pt x="484101" y="655438"/>
                  </a:cubicBezTo>
                  <a:cubicBezTo>
                    <a:pt x="481381" y="660877"/>
                    <a:pt x="473222" y="663597"/>
                    <a:pt x="467782" y="663597"/>
                  </a:cubicBezTo>
                  <a:cubicBezTo>
                    <a:pt x="456904" y="666317"/>
                    <a:pt x="451464" y="666317"/>
                    <a:pt x="443306" y="666317"/>
                  </a:cubicBezTo>
                  <a:cubicBezTo>
                    <a:pt x="437866" y="666317"/>
                    <a:pt x="429707" y="666317"/>
                    <a:pt x="421548" y="666317"/>
                  </a:cubicBezTo>
                  <a:cubicBezTo>
                    <a:pt x="418829" y="666317"/>
                    <a:pt x="416109" y="666317"/>
                    <a:pt x="413389" y="666317"/>
                  </a:cubicBezTo>
                  <a:cubicBezTo>
                    <a:pt x="407950" y="669036"/>
                    <a:pt x="405230" y="669036"/>
                    <a:pt x="399791" y="671756"/>
                  </a:cubicBezTo>
                  <a:cubicBezTo>
                    <a:pt x="394352" y="671756"/>
                    <a:pt x="388913" y="674476"/>
                    <a:pt x="383473" y="674476"/>
                  </a:cubicBezTo>
                  <a:cubicBezTo>
                    <a:pt x="372594" y="674476"/>
                    <a:pt x="358996" y="671756"/>
                    <a:pt x="348118" y="669036"/>
                  </a:cubicBezTo>
                  <a:cubicBezTo>
                    <a:pt x="339959" y="669036"/>
                    <a:pt x="331800" y="669036"/>
                    <a:pt x="326360" y="669036"/>
                  </a:cubicBezTo>
                  <a:cubicBezTo>
                    <a:pt x="304603" y="669036"/>
                    <a:pt x="285565" y="669036"/>
                    <a:pt x="277406" y="669036"/>
                  </a:cubicBezTo>
                  <a:cubicBezTo>
                    <a:pt x="269247" y="669036"/>
                    <a:pt x="258369" y="669036"/>
                    <a:pt x="252930" y="663597"/>
                  </a:cubicBezTo>
                  <a:cubicBezTo>
                    <a:pt x="247490" y="660877"/>
                    <a:pt x="236611" y="655438"/>
                    <a:pt x="236611" y="647279"/>
                  </a:cubicBezTo>
                  <a:cubicBezTo>
                    <a:pt x="236611" y="636401"/>
                    <a:pt x="252930" y="633681"/>
                    <a:pt x="261088" y="630961"/>
                  </a:cubicBezTo>
                  <a:cubicBezTo>
                    <a:pt x="266528" y="630961"/>
                    <a:pt x="274687" y="630961"/>
                    <a:pt x="288285" y="628241"/>
                  </a:cubicBezTo>
                  <a:cubicBezTo>
                    <a:pt x="288285" y="620082"/>
                    <a:pt x="288285" y="614643"/>
                    <a:pt x="285565" y="609204"/>
                  </a:cubicBezTo>
                  <a:cubicBezTo>
                    <a:pt x="285565" y="601045"/>
                    <a:pt x="282846" y="590166"/>
                    <a:pt x="282846" y="582007"/>
                  </a:cubicBezTo>
                  <a:cubicBezTo>
                    <a:pt x="282846" y="576568"/>
                    <a:pt x="280126" y="573848"/>
                    <a:pt x="280126" y="568409"/>
                  </a:cubicBezTo>
                  <a:cubicBezTo>
                    <a:pt x="280126" y="562970"/>
                    <a:pt x="282846" y="557531"/>
                    <a:pt x="282846" y="554811"/>
                  </a:cubicBezTo>
                  <a:cubicBezTo>
                    <a:pt x="282846" y="549371"/>
                    <a:pt x="280126" y="546652"/>
                    <a:pt x="277406" y="538493"/>
                  </a:cubicBezTo>
                  <a:cubicBezTo>
                    <a:pt x="277406" y="527614"/>
                    <a:pt x="271967" y="516736"/>
                    <a:pt x="271967" y="505857"/>
                  </a:cubicBezTo>
                  <a:cubicBezTo>
                    <a:pt x="271967" y="494978"/>
                    <a:pt x="271967" y="486820"/>
                    <a:pt x="269247" y="478660"/>
                  </a:cubicBezTo>
                  <a:cubicBezTo>
                    <a:pt x="266528" y="467782"/>
                    <a:pt x="266528" y="456903"/>
                    <a:pt x="266528" y="446025"/>
                  </a:cubicBezTo>
                  <a:cubicBezTo>
                    <a:pt x="266528" y="440585"/>
                    <a:pt x="263808" y="437866"/>
                    <a:pt x="261088" y="437866"/>
                  </a:cubicBezTo>
                  <a:cubicBezTo>
                    <a:pt x="258369" y="437866"/>
                    <a:pt x="255649" y="437866"/>
                    <a:pt x="250210" y="437866"/>
                  </a:cubicBezTo>
                  <a:cubicBezTo>
                    <a:pt x="239331" y="437866"/>
                    <a:pt x="228452" y="437866"/>
                    <a:pt x="220293" y="440585"/>
                  </a:cubicBezTo>
                  <a:cubicBezTo>
                    <a:pt x="209415" y="440585"/>
                    <a:pt x="201256" y="443305"/>
                    <a:pt x="190377" y="443305"/>
                  </a:cubicBezTo>
                  <a:cubicBezTo>
                    <a:pt x="182218" y="443305"/>
                    <a:pt x="174059" y="443305"/>
                    <a:pt x="165900" y="443305"/>
                  </a:cubicBezTo>
                  <a:cubicBezTo>
                    <a:pt x="163181" y="443305"/>
                    <a:pt x="152302" y="440585"/>
                    <a:pt x="144143" y="440585"/>
                  </a:cubicBezTo>
                  <a:cubicBezTo>
                    <a:pt x="135984" y="440585"/>
                    <a:pt x="135984" y="448744"/>
                    <a:pt x="135984" y="454184"/>
                  </a:cubicBezTo>
                  <a:cubicBezTo>
                    <a:pt x="135984" y="465062"/>
                    <a:pt x="133264" y="475941"/>
                    <a:pt x="130545" y="486820"/>
                  </a:cubicBezTo>
                  <a:cubicBezTo>
                    <a:pt x="127825" y="505857"/>
                    <a:pt x="122386" y="522175"/>
                    <a:pt x="119666" y="541213"/>
                  </a:cubicBezTo>
                  <a:cubicBezTo>
                    <a:pt x="116947" y="560250"/>
                    <a:pt x="108788" y="595606"/>
                    <a:pt x="103348" y="614643"/>
                  </a:cubicBezTo>
                  <a:cubicBezTo>
                    <a:pt x="111507" y="614643"/>
                    <a:pt x="122386" y="614643"/>
                    <a:pt x="133264" y="614643"/>
                  </a:cubicBezTo>
                  <a:cubicBezTo>
                    <a:pt x="146863" y="614643"/>
                    <a:pt x="168620" y="614643"/>
                    <a:pt x="168620" y="630961"/>
                  </a:cubicBezTo>
                  <a:cubicBezTo>
                    <a:pt x="168620" y="639120"/>
                    <a:pt x="165900" y="639120"/>
                    <a:pt x="163181" y="647279"/>
                  </a:cubicBezTo>
                  <a:cubicBezTo>
                    <a:pt x="160461" y="652718"/>
                    <a:pt x="152302" y="655438"/>
                    <a:pt x="146863" y="655438"/>
                  </a:cubicBezTo>
                  <a:cubicBezTo>
                    <a:pt x="138704" y="658158"/>
                    <a:pt x="133264" y="658158"/>
                    <a:pt x="127825" y="658158"/>
                  </a:cubicBezTo>
                  <a:cubicBezTo>
                    <a:pt x="122386" y="658158"/>
                    <a:pt x="116947" y="658158"/>
                    <a:pt x="106068" y="658158"/>
                  </a:cubicBezTo>
                  <a:cubicBezTo>
                    <a:pt x="92468" y="658158"/>
                    <a:pt x="78870" y="658158"/>
                    <a:pt x="62552" y="658158"/>
                  </a:cubicBezTo>
                  <a:cubicBezTo>
                    <a:pt x="54393" y="658158"/>
                    <a:pt x="46234" y="658158"/>
                    <a:pt x="40795" y="658158"/>
                  </a:cubicBezTo>
                  <a:cubicBezTo>
                    <a:pt x="32636" y="658158"/>
                    <a:pt x="21758" y="658158"/>
                    <a:pt x="16318" y="652718"/>
                  </a:cubicBezTo>
                  <a:cubicBezTo>
                    <a:pt x="8159" y="649999"/>
                    <a:pt x="0" y="641840"/>
                    <a:pt x="0" y="636401"/>
                  </a:cubicBezTo>
                  <a:cubicBezTo>
                    <a:pt x="0" y="633681"/>
                    <a:pt x="0" y="630961"/>
                    <a:pt x="2720" y="628241"/>
                  </a:cubicBezTo>
                  <a:cubicBezTo>
                    <a:pt x="8159" y="625522"/>
                    <a:pt x="16318" y="622802"/>
                    <a:pt x="24477" y="620082"/>
                  </a:cubicBezTo>
                  <a:cubicBezTo>
                    <a:pt x="38075" y="617363"/>
                    <a:pt x="48954" y="617363"/>
                    <a:pt x="62552" y="617363"/>
                  </a:cubicBezTo>
                  <a:cubicBezTo>
                    <a:pt x="62552" y="617363"/>
                    <a:pt x="62552" y="614643"/>
                    <a:pt x="62552" y="614643"/>
                  </a:cubicBezTo>
                  <a:cubicBezTo>
                    <a:pt x="62552" y="603765"/>
                    <a:pt x="65272" y="590166"/>
                    <a:pt x="65272" y="587447"/>
                  </a:cubicBezTo>
                  <a:cubicBezTo>
                    <a:pt x="67992" y="565689"/>
                    <a:pt x="73431" y="543932"/>
                    <a:pt x="76151" y="522175"/>
                  </a:cubicBezTo>
                  <a:cubicBezTo>
                    <a:pt x="78870" y="505857"/>
                    <a:pt x="81590" y="486820"/>
                    <a:pt x="87029" y="470501"/>
                  </a:cubicBezTo>
                  <a:cubicBezTo>
                    <a:pt x="87029" y="465062"/>
                    <a:pt x="92468" y="451464"/>
                    <a:pt x="92468" y="446025"/>
                  </a:cubicBezTo>
                  <a:cubicBezTo>
                    <a:pt x="92468" y="437866"/>
                    <a:pt x="73431" y="437866"/>
                    <a:pt x="65272" y="432426"/>
                  </a:cubicBezTo>
                  <a:cubicBezTo>
                    <a:pt x="59833" y="429707"/>
                    <a:pt x="54393" y="426987"/>
                    <a:pt x="54393" y="421548"/>
                  </a:cubicBezTo>
                  <a:cubicBezTo>
                    <a:pt x="54393" y="413389"/>
                    <a:pt x="62552" y="410669"/>
                    <a:pt x="73431" y="407949"/>
                  </a:cubicBezTo>
                  <a:cubicBezTo>
                    <a:pt x="78870" y="407949"/>
                    <a:pt x="92468" y="405230"/>
                    <a:pt x="100629" y="399790"/>
                  </a:cubicBezTo>
                  <a:cubicBezTo>
                    <a:pt x="106068" y="394351"/>
                    <a:pt x="106068" y="378033"/>
                    <a:pt x="108788" y="369874"/>
                  </a:cubicBezTo>
                  <a:cubicBezTo>
                    <a:pt x="114227" y="348117"/>
                    <a:pt x="119666" y="326360"/>
                    <a:pt x="125105" y="307322"/>
                  </a:cubicBezTo>
                  <a:cubicBezTo>
                    <a:pt x="130545" y="285565"/>
                    <a:pt x="135984" y="263808"/>
                    <a:pt x="141423" y="242051"/>
                  </a:cubicBezTo>
                  <a:cubicBezTo>
                    <a:pt x="146863" y="220293"/>
                    <a:pt x="152302" y="198536"/>
                    <a:pt x="155022" y="179498"/>
                  </a:cubicBezTo>
                  <a:cubicBezTo>
                    <a:pt x="157742" y="160461"/>
                    <a:pt x="163181" y="138703"/>
                    <a:pt x="168620" y="119665"/>
                  </a:cubicBezTo>
                  <a:cubicBezTo>
                    <a:pt x="176779" y="100627"/>
                    <a:pt x="182218" y="76150"/>
                    <a:pt x="193097" y="57113"/>
                  </a:cubicBezTo>
                  <a:lnTo>
                    <a:pt x="201256" y="38075"/>
                  </a:lnTo>
                  <a:cubicBezTo>
                    <a:pt x="206695" y="29916"/>
                    <a:pt x="209415" y="19038"/>
                    <a:pt x="217574" y="13598"/>
                  </a:cubicBezTo>
                  <a:cubicBezTo>
                    <a:pt x="231172" y="2720"/>
                    <a:pt x="255649" y="0"/>
                    <a:pt x="274687" y="0"/>
                  </a:cubicBezTo>
                  <a:close/>
                </a:path>
              </a:pathLst>
            </a:custGeom>
            <a:grpFill/>
            <a:ln w="27168"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5F381A14-5BFB-4FBC-B99A-EAC2A96B2DA3}"/>
                </a:ext>
              </a:extLst>
            </p:cNvPr>
            <p:cNvSpPr/>
            <p:nvPr/>
          </p:nvSpPr>
          <p:spPr>
            <a:xfrm>
              <a:off x="6876542" y="4244897"/>
              <a:ext cx="462342" cy="677195"/>
            </a:xfrm>
            <a:custGeom>
              <a:avLst/>
              <a:gdLst>
                <a:gd name="connsiteX0" fmla="*/ 214853 w 462342"/>
                <a:gd name="connsiteY0" fmla="*/ 65272 h 677195"/>
                <a:gd name="connsiteX1" fmla="*/ 195815 w 462342"/>
                <a:gd name="connsiteY1" fmla="*/ 73431 h 677195"/>
                <a:gd name="connsiteX2" fmla="*/ 193096 w 462342"/>
                <a:gd name="connsiteY2" fmla="*/ 125105 h 677195"/>
                <a:gd name="connsiteX3" fmla="*/ 190376 w 462342"/>
                <a:gd name="connsiteY3" fmla="*/ 280125 h 677195"/>
                <a:gd name="connsiteX4" fmla="*/ 190376 w 462342"/>
                <a:gd name="connsiteY4" fmla="*/ 301882 h 677195"/>
                <a:gd name="connsiteX5" fmla="*/ 193096 w 462342"/>
                <a:gd name="connsiteY5" fmla="*/ 342677 h 677195"/>
                <a:gd name="connsiteX6" fmla="*/ 195815 w 462342"/>
                <a:gd name="connsiteY6" fmla="*/ 397070 h 677195"/>
                <a:gd name="connsiteX7" fmla="*/ 195815 w 462342"/>
                <a:gd name="connsiteY7" fmla="*/ 443304 h 677195"/>
                <a:gd name="connsiteX8" fmla="*/ 195815 w 462342"/>
                <a:gd name="connsiteY8" fmla="*/ 530333 h 677195"/>
                <a:gd name="connsiteX9" fmla="*/ 193096 w 462342"/>
                <a:gd name="connsiteY9" fmla="*/ 554810 h 677195"/>
                <a:gd name="connsiteX10" fmla="*/ 190376 w 462342"/>
                <a:gd name="connsiteY10" fmla="*/ 603764 h 677195"/>
                <a:gd name="connsiteX11" fmla="*/ 198535 w 462342"/>
                <a:gd name="connsiteY11" fmla="*/ 611923 h 677195"/>
                <a:gd name="connsiteX12" fmla="*/ 214853 w 462342"/>
                <a:gd name="connsiteY12" fmla="*/ 611923 h 677195"/>
                <a:gd name="connsiteX13" fmla="*/ 236610 w 462342"/>
                <a:gd name="connsiteY13" fmla="*/ 611923 h 677195"/>
                <a:gd name="connsiteX14" fmla="*/ 263807 w 462342"/>
                <a:gd name="connsiteY14" fmla="*/ 598325 h 677195"/>
                <a:gd name="connsiteX15" fmla="*/ 277405 w 462342"/>
                <a:gd name="connsiteY15" fmla="*/ 592885 h 677195"/>
                <a:gd name="connsiteX16" fmla="*/ 291004 w 462342"/>
                <a:gd name="connsiteY16" fmla="*/ 573848 h 677195"/>
                <a:gd name="connsiteX17" fmla="*/ 307322 w 462342"/>
                <a:gd name="connsiteY17" fmla="*/ 543931 h 677195"/>
                <a:gd name="connsiteX18" fmla="*/ 326359 w 462342"/>
                <a:gd name="connsiteY18" fmla="*/ 481379 h 677195"/>
                <a:gd name="connsiteX19" fmla="*/ 337238 w 462342"/>
                <a:gd name="connsiteY19" fmla="*/ 413388 h 677195"/>
                <a:gd name="connsiteX20" fmla="*/ 337238 w 462342"/>
                <a:gd name="connsiteY20" fmla="*/ 350836 h 677195"/>
                <a:gd name="connsiteX21" fmla="*/ 334518 w 462342"/>
                <a:gd name="connsiteY21" fmla="*/ 296443 h 677195"/>
                <a:gd name="connsiteX22" fmla="*/ 329079 w 462342"/>
                <a:gd name="connsiteY22" fmla="*/ 244769 h 677195"/>
                <a:gd name="connsiteX23" fmla="*/ 307322 w 462342"/>
                <a:gd name="connsiteY23" fmla="*/ 135983 h 677195"/>
                <a:gd name="connsiteX24" fmla="*/ 271966 w 462342"/>
                <a:gd name="connsiteY24" fmla="*/ 78870 h 677195"/>
                <a:gd name="connsiteX25" fmla="*/ 214853 w 462342"/>
                <a:gd name="connsiteY25" fmla="*/ 65272 h 677195"/>
                <a:gd name="connsiteX26" fmla="*/ 114226 w 462342"/>
                <a:gd name="connsiteY26" fmla="*/ 0 h 677195"/>
                <a:gd name="connsiteX27" fmla="*/ 127824 w 462342"/>
                <a:gd name="connsiteY27" fmla="*/ 0 h 677195"/>
                <a:gd name="connsiteX28" fmla="*/ 146862 w 462342"/>
                <a:gd name="connsiteY28" fmla="*/ 2720 h 677195"/>
                <a:gd name="connsiteX29" fmla="*/ 174059 w 462342"/>
                <a:gd name="connsiteY29" fmla="*/ 21758 h 677195"/>
                <a:gd name="connsiteX30" fmla="*/ 193096 w 462342"/>
                <a:gd name="connsiteY30" fmla="*/ 21758 h 677195"/>
                <a:gd name="connsiteX31" fmla="*/ 261088 w 462342"/>
                <a:gd name="connsiteY31" fmla="*/ 27197 h 677195"/>
                <a:gd name="connsiteX32" fmla="*/ 310042 w 462342"/>
                <a:gd name="connsiteY32" fmla="*/ 35356 h 677195"/>
                <a:gd name="connsiteX33" fmla="*/ 334518 w 462342"/>
                <a:gd name="connsiteY33" fmla="*/ 40795 h 677195"/>
                <a:gd name="connsiteX34" fmla="*/ 356276 w 462342"/>
                <a:gd name="connsiteY34" fmla="*/ 59833 h 677195"/>
                <a:gd name="connsiteX35" fmla="*/ 372593 w 462342"/>
                <a:gd name="connsiteY35" fmla="*/ 76151 h 677195"/>
                <a:gd name="connsiteX36" fmla="*/ 380752 w 462342"/>
                <a:gd name="connsiteY36" fmla="*/ 95188 h 677195"/>
                <a:gd name="connsiteX37" fmla="*/ 405230 w 462342"/>
                <a:gd name="connsiteY37" fmla="*/ 114226 h 677195"/>
                <a:gd name="connsiteX38" fmla="*/ 416108 w 462342"/>
                <a:gd name="connsiteY38" fmla="*/ 141422 h 677195"/>
                <a:gd name="connsiteX39" fmla="*/ 451464 w 462342"/>
                <a:gd name="connsiteY39" fmla="*/ 201256 h 677195"/>
                <a:gd name="connsiteX40" fmla="*/ 456903 w 462342"/>
                <a:gd name="connsiteY40" fmla="*/ 252929 h 677195"/>
                <a:gd name="connsiteX41" fmla="*/ 456903 w 462342"/>
                <a:gd name="connsiteY41" fmla="*/ 291004 h 677195"/>
                <a:gd name="connsiteX42" fmla="*/ 459623 w 462342"/>
                <a:gd name="connsiteY42" fmla="*/ 318201 h 677195"/>
                <a:gd name="connsiteX43" fmla="*/ 459623 w 462342"/>
                <a:gd name="connsiteY43" fmla="*/ 326360 h 677195"/>
                <a:gd name="connsiteX44" fmla="*/ 459623 w 462342"/>
                <a:gd name="connsiteY44" fmla="*/ 348117 h 677195"/>
                <a:gd name="connsiteX45" fmla="*/ 462342 w 462342"/>
                <a:gd name="connsiteY45" fmla="*/ 367155 h 677195"/>
                <a:gd name="connsiteX46" fmla="*/ 456903 w 462342"/>
                <a:gd name="connsiteY46" fmla="*/ 391632 h 677195"/>
                <a:gd name="connsiteX47" fmla="*/ 456903 w 462342"/>
                <a:gd name="connsiteY47" fmla="*/ 418828 h 677195"/>
                <a:gd name="connsiteX48" fmla="*/ 451464 w 462342"/>
                <a:gd name="connsiteY48" fmla="*/ 437866 h 677195"/>
                <a:gd name="connsiteX49" fmla="*/ 446025 w 462342"/>
                <a:gd name="connsiteY49" fmla="*/ 454184 h 677195"/>
                <a:gd name="connsiteX50" fmla="*/ 440585 w 462342"/>
                <a:gd name="connsiteY50" fmla="*/ 481380 h 677195"/>
                <a:gd name="connsiteX51" fmla="*/ 432426 w 462342"/>
                <a:gd name="connsiteY51" fmla="*/ 508577 h 677195"/>
                <a:gd name="connsiteX52" fmla="*/ 418828 w 462342"/>
                <a:gd name="connsiteY52" fmla="*/ 530334 h 677195"/>
                <a:gd name="connsiteX53" fmla="*/ 410669 w 462342"/>
                <a:gd name="connsiteY53" fmla="*/ 549371 h 677195"/>
                <a:gd name="connsiteX54" fmla="*/ 391631 w 462342"/>
                <a:gd name="connsiteY54" fmla="*/ 579288 h 677195"/>
                <a:gd name="connsiteX55" fmla="*/ 337238 w 462342"/>
                <a:gd name="connsiteY55" fmla="*/ 630961 h 677195"/>
                <a:gd name="connsiteX56" fmla="*/ 301883 w 462342"/>
                <a:gd name="connsiteY56" fmla="*/ 647279 h 677195"/>
                <a:gd name="connsiteX57" fmla="*/ 263807 w 462342"/>
                <a:gd name="connsiteY57" fmla="*/ 652718 h 677195"/>
                <a:gd name="connsiteX58" fmla="*/ 233891 w 462342"/>
                <a:gd name="connsiteY58" fmla="*/ 649999 h 677195"/>
                <a:gd name="connsiteX59" fmla="*/ 187657 w 462342"/>
                <a:gd name="connsiteY59" fmla="*/ 652718 h 677195"/>
                <a:gd name="connsiteX60" fmla="*/ 171339 w 462342"/>
                <a:gd name="connsiteY60" fmla="*/ 669036 h 677195"/>
                <a:gd name="connsiteX61" fmla="*/ 155021 w 462342"/>
                <a:gd name="connsiteY61" fmla="*/ 671756 h 677195"/>
                <a:gd name="connsiteX62" fmla="*/ 138703 w 462342"/>
                <a:gd name="connsiteY62" fmla="*/ 674476 h 677195"/>
                <a:gd name="connsiteX63" fmla="*/ 125105 w 462342"/>
                <a:gd name="connsiteY63" fmla="*/ 677195 h 677195"/>
                <a:gd name="connsiteX64" fmla="*/ 106067 w 462342"/>
                <a:gd name="connsiteY64" fmla="*/ 671756 h 677195"/>
                <a:gd name="connsiteX65" fmla="*/ 87029 w 462342"/>
                <a:gd name="connsiteY65" fmla="*/ 658158 h 677195"/>
                <a:gd name="connsiteX66" fmla="*/ 81590 w 462342"/>
                <a:gd name="connsiteY66" fmla="*/ 652718 h 677195"/>
                <a:gd name="connsiteX67" fmla="*/ 67992 w 462342"/>
                <a:gd name="connsiteY67" fmla="*/ 652718 h 677195"/>
                <a:gd name="connsiteX68" fmla="*/ 43515 w 462342"/>
                <a:gd name="connsiteY68" fmla="*/ 652718 h 677195"/>
                <a:gd name="connsiteX69" fmla="*/ 16318 w 462342"/>
                <a:gd name="connsiteY69" fmla="*/ 647279 h 677195"/>
                <a:gd name="connsiteX70" fmla="*/ 0 w 462342"/>
                <a:gd name="connsiteY70" fmla="*/ 630961 h 677195"/>
                <a:gd name="connsiteX71" fmla="*/ 5439 w 462342"/>
                <a:gd name="connsiteY71" fmla="*/ 620083 h 677195"/>
                <a:gd name="connsiteX72" fmla="*/ 27197 w 462342"/>
                <a:gd name="connsiteY72" fmla="*/ 611924 h 677195"/>
                <a:gd name="connsiteX73" fmla="*/ 65272 w 462342"/>
                <a:gd name="connsiteY73" fmla="*/ 609204 h 677195"/>
                <a:gd name="connsiteX74" fmla="*/ 65272 w 462342"/>
                <a:gd name="connsiteY74" fmla="*/ 584727 h 677195"/>
                <a:gd name="connsiteX75" fmla="*/ 62552 w 462342"/>
                <a:gd name="connsiteY75" fmla="*/ 456903 h 677195"/>
                <a:gd name="connsiteX76" fmla="*/ 65272 w 462342"/>
                <a:gd name="connsiteY76" fmla="*/ 337238 h 677195"/>
                <a:gd name="connsiteX77" fmla="*/ 67992 w 462342"/>
                <a:gd name="connsiteY77" fmla="*/ 203975 h 677195"/>
                <a:gd name="connsiteX78" fmla="*/ 70712 w 462342"/>
                <a:gd name="connsiteY78" fmla="*/ 119665 h 677195"/>
                <a:gd name="connsiteX79" fmla="*/ 73431 w 462342"/>
                <a:gd name="connsiteY79" fmla="*/ 67992 h 677195"/>
                <a:gd name="connsiteX80" fmla="*/ 67992 w 462342"/>
                <a:gd name="connsiteY80" fmla="*/ 67992 h 677195"/>
                <a:gd name="connsiteX81" fmla="*/ 43515 w 462342"/>
                <a:gd name="connsiteY81" fmla="*/ 67992 h 677195"/>
                <a:gd name="connsiteX82" fmla="*/ 16318 w 462342"/>
                <a:gd name="connsiteY82" fmla="*/ 62552 h 677195"/>
                <a:gd name="connsiteX83" fmla="*/ 0 w 462342"/>
                <a:gd name="connsiteY83" fmla="*/ 46234 h 677195"/>
                <a:gd name="connsiteX84" fmla="*/ 5439 w 462342"/>
                <a:gd name="connsiteY84" fmla="*/ 35356 h 677195"/>
                <a:gd name="connsiteX85" fmla="*/ 27197 w 462342"/>
                <a:gd name="connsiteY85" fmla="*/ 27197 h 677195"/>
                <a:gd name="connsiteX86" fmla="*/ 76151 w 462342"/>
                <a:gd name="connsiteY86" fmla="*/ 21758 h 677195"/>
                <a:gd name="connsiteX87" fmla="*/ 81590 w 462342"/>
                <a:gd name="connsiteY87" fmla="*/ 13598 h 677195"/>
                <a:gd name="connsiteX88" fmla="*/ 97908 w 462342"/>
                <a:gd name="connsiteY88" fmla="*/ 5439 h 677195"/>
                <a:gd name="connsiteX89" fmla="*/ 114226 w 462342"/>
                <a:gd name="connsiteY89" fmla="*/ 0 h 677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62342" h="677195">
                  <a:moveTo>
                    <a:pt x="214853" y="65272"/>
                  </a:moveTo>
                  <a:cubicBezTo>
                    <a:pt x="203975" y="65272"/>
                    <a:pt x="195815" y="67992"/>
                    <a:pt x="195815" y="73431"/>
                  </a:cubicBezTo>
                  <a:cubicBezTo>
                    <a:pt x="193096" y="78870"/>
                    <a:pt x="193096" y="100628"/>
                    <a:pt x="193096" y="125105"/>
                  </a:cubicBezTo>
                  <a:cubicBezTo>
                    <a:pt x="193096" y="182217"/>
                    <a:pt x="193096" y="266527"/>
                    <a:pt x="190376" y="280125"/>
                  </a:cubicBezTo>
                  <a:cubicBezTo>
                    <a:pt x="190376" y="288284"/>
                    <a:pt x="190376" y="293723"/>
                    <a:pt x="190376" y="301882"/>
                  </a:cubicBezTo>
                  <a:cubicBezTo>
                    <a:pt x="190376" y="315480"/>
                    <a:pt x="190376" y="329079"/>
                    <a:pt x="193096" y="342677"/>
                  </a:cubicBezTo>
                  <a:cubicBezTo>
                    <a:pt x="193096" y="361715"/>
                    <a:pt x="193096" y="378033"/>
                    <a:pt x="195815" y="397070"/>
                  </a:cubicBezTo>
                  <a:cubicBezTo>
                    <a:pt x="195815" y="413388"/>
                    <a:pt x="195815" y="426986"/>
                    <a:pt x="195815" y="443304"/>
                  </a:cubicBezTo>
                  <a:cubicBezTo>
                    <a:pt x="195815" y="465061"/>
                    <a:pt x="198535" y="508576"/>
                    <a:pt x="195815" y="530333"/>
                  </a:cubicBezTo>
                  <a:cubicBezTo>
                    <a:pt x="195815" y="538492"/>
                    <a:pt x="193096" y="546651"/>
                    <a:pt x="193096" y="554810"/>
                  </a:cubicBezTo>
                  <a:cubicBezTo>
                    <a:pt x="193096" y="560249"/>
                    <a:pt x="190376" y="590166"/>
                    <a:pt x="190376" y="603764"/>
                  </a:cubicBezTo>
                  <a:cubicBezTo>
                    <a:pt x="190376" y="609203"/>
                    <a:pt x="190376" y="611923"/>
                    <a:pt x="198535" y="611923"/>
                  </a:cubicBezTo>
                  <a:cubicBezTo>
                    <a:pt x="206694" y="611923"/>
                    <a:pt x="209414" y="611923"/>
                    <a:pt x="214853" y="611923"/>
                  </a:cubicBezTo>
                  <a:cubicBezTo>
                    <a:pt x="223012" y="611923"/>
                    <a:pt x="220293" y="611923"/>
                    <a:pt x="236610" y="611923"/>
                  </a:cubicBezTo>
                  <a:cubicBezTo>
                    <a:pt x="242050" y="611923"/>
                    <a:pt x="258368" y="601044"/>
                    <a:pt x="263807" y="598325"/>
                  </a:cubicBezTo>
                  <a:cubicBezTo>
                    <a:pt x="266527" y="598325"/>
                    <a:pt x="274686" y="592885"/>
                    <a:pt x="277405" y="592885"/>
                  </a:cubicBezTo>
                  <a:cubicBezTo>
                    <a:pt x="285564" y="587446"/>
                    <a:pt x="288284" y="579287"/>
                    <a:pt x="291004" y="573848"/>
                  </a:cubicBezTo>
                  <a:cubicBezTo>
                    <a:pt x="296443" y="562969"/>
                    <a:pt x="301882" y="554810"/>
                    <a:pt x="307322" y="543931"/>
                  </a:cubicBezTo>
                  <a:cubicBezTo>
                    <a:pt x="315481" y="524894"/>
                    <a:pt x="320920" y="524894"/>
                    <a:pt x="326359" y="481379"/>
                  </a:cubicBezTo>
                  <a:cubicBezTo>
                    <a:pt x="329079" y="456903"/>
                    <a:pt x="334518" y="435145"/>
                    <a:pt x="337238" y="413388"/>
                  </a:cubicBezTo>
                  <a:cubicBezTo>
                    <a:pt x="337238" y="391631"/>
                    <a:pt x="337238" y="369873"/>
                    <a:pt x="337238" y="350836"/>
                  </a:cubicBezTo>
                  <a:cubicBezTo>
                    <a:pt x="337238" y="339957"/>
                    <a:pt x="337238" y="320920"/>
                    <a:pt x="334518" y="296443"/>
                  </a:cubicBezTo>
                  <a:cubicBezTo>
                    <a:pt x="331798" y="269246"/>
                    <a:pt x="329079" y="250209"/>
                    <a:pt x="329079" y="244769"/>
                  </a:cubicBezTo>
                  <a:cubicBezTo>
                    <a:pt x="323640" y="206694"/>
                    <a:pt x="318200" y="174058"/>
                    <a:pt x="307322" y="135983"/>
                  </a:cubicBezTo>
                  <a:cubicBezTo>
                    <a:pt x="304602" y="125105"/>
                    <a:pt x="304602" y="108787"/>
                    <a:pt x="271966" y="78870"/>
                  </a:cubicBezTo>
                  <a:cubicBezTo>
                    <a:pt x="263807" y="73431"/>
                    <a:pt x="233891" y="65272"/>
                    <a:pt x="214853" y="65272"/>
                  </a:cubicBezTo>
                  <a:close/>
                  <a:moveTo>
                    <a:pt x="114226" y="0"/>
                  </a:moveTo>
                  <a:cubicBezTo>
                    <a:pt x="119665" y="0"/>
                    <a:pt x="125105" y="0"/>
                    <a:pt x="127824" y="0"/>
                  </a:cubicBezTo>
                  <a:cubicBezTo>
                    <a:pt x="133264" y="0"/>
                    <a:pt x="141422" y="0"/>
                    <a:pt x="146862" y="2720"/>
                  </a:cubicBezTo>
                  <a:cubicBezTo>
                    <a:pt x="157741" y="5439"/>
                    <a:pt x="165900" y="13598"/>
                    <a:pt x="174059" y="21758"/>
                  </a:cubicBezTo>
                  <a:cubicBezTo>
                    <a:pt x="179498" y="21758"/>
                    <a:pt x="187657" y="21758"/>
                    <a:pt x="193096" y="21758"/>
                  </a:cubicBezTo>
                  <a:cubicBezTo>
                    <a:pt x="212134" y="21758"/>
                    <a:pt x="228452" y="27197"/>
                    <a:pt x="261088" y="27197"/>
                  </a:cubicBezTo>
                  <a:cubicBezTo>
                    <a:pt x="277405" y="27197"/>
                    <a:pt x="293723" y="35356"/>
                    <a:pt x="310042" y="35356"/>
                  </a:cubicBezTo>
                  <a:cubicBezTo>
                    <a:pt x="318200" y="35356"/>
                    <a:pt x="329079" y="35356"/>
                    <a:pt x="334518" y="40795"/>
                  </a:cubicBezTo>
                  <a:cubicBezTo>
                    <a:pt x="342677" y="46234"/>
                    <a:pt x="348117" y="54393"/>
                    <a:pt x="356276" y="59833"/>
                  </a:cubicBezTo>
                  <a:cubicBezTo>
                    <a:pt x="361715" y="65272"/>
                    <a:pt x="369874" y="67992"/>
                    <a:pt x="372593" y="76151"/>
                  </a:cubicBezTo>
                  <a:cubicBezTo>
                    <a:pt x="375313" y="81590"/>
                    <a:pt x="378033" y="89749"/>
                    <a:pt x="380752" y="95188"/>
                  </a:cubicBezTo>
                  <a:cubicBezTo>
                    <a:pt x="386192" y="103347"/>
                    <a:pt x="391631" y="106067"/>
                    <a:pt x="405230" y="114226"/>
                  </a:cubicBezTo>
                  <a:cubicBezTo>
                    <a:pt x="413388" y="119665"/>
                    <a:pt x="410669" y="133263"/>
                    <a:pt x="416108" y="141422"/>
                  </a:cubicBezTo>
                  <a:cubicBezTo>
                    <a:pt x="426987" y="160461"/>
                    <a:pt x="446025" y="182218"/>
                    <a:pt x="451464" y="201256"/>
                  </a:cubicBezTo>
                  <a:cubicBezTo>
                    <a:pt x="456903" y="220293"/>
                    <a:pt x="456903" y="236611"/>
                    <a:pt x="456903" y="252929"/>
                  </a:cubicBezTo>
                  <a:cubicBezTo>
                    <a:pt x="456903" y="266527"/>
                    <a:pt x="456903" y="277406"/>
                    <a:pt x="456903" y="291004"/>
                  </a:cubicBezTo>
                  <a:cubicBezTo>
                    <a:pt x="456903" y="299163"/>
                    <a:pt x="456903" y="307322"/>
                    <a:pt x="459623" y="318201"/>
                  </a:cubicBezTo>
                  <a:cubicBezTo>
                    <a:pt x="459623" y="320921"/>
                    <a:pt x="459623" y="323640"/>
                    <a:pt x="459623" y="326360"/>
                  </a:cubicBezTo>
                  <a:cubicBezTo>
                    <a:pt x="462342" y="331799"/>
                    <a:pt x="459623" y="337238"/>
                    <a:pt x="459623" y="348117"/>
                  </a:cubicBezTo>
                  <a:cubicBezTo>
                    <a:pt x="459623" y="350837"/>
                    <a:pt x="462342" y="361715"/>
                    <a:pt x="462342" y="367155"/>
                  </a:cubicBezTo>
                  <a:cubicBezTo>
                    <a:pt x="462342" y="375314"/>
                    <a:pt x="456903" y="383473"/>
                    <a:pt x="456903" y="391632"/>
                  </a:cubicBezTo>
                  <a:cubicBezTo>
                    <a:pt x="456903" y="399790"/>
                    <a:pt x="456903" y="410669"/>
                    <a:pt x="456903" y="418828"/>
                  </a:cubicBezTo>
                  <a:cubicBezTo>
                    <a:pt x="456903" y="421548"/>
                    <a:pt x="454183" y="429707"/>
                    <a:pt x="451464" y="437866"/>
                  </a:cubicBezTo>
                  <a:cubicBezTo>
                    <a:pt x="448744" y="443305"/>
                    <a:pt x="448744" y="451464"/>
                    <a:pt x="446025" y="454184"/>
                  </a:cubicBezTo>
                  <a:cubicBezTo>
                    <a:pt x="443305" y="462343"/>
                    <a:pt x="440585" y="473221"/>
                    <a:pt x="440585" y="481380"/>
                  </a:cubicBezTo>
                  <a:cubicBezTo>
                    <a:pt x="437865" y="489539"/>
                    <a:pt x="437865" y="500418"/>
                    <a:pt x="432426" y="508577"/>
                  </a:cubicBezTo>
                  <a:cubicBezTo>
                    <a:pt x="429706" y="516736"/>
                    <a:pt x="424267" y="522175"/>
                    <a:pt x="418828" y="530334"/>
                  </a:cubicBezTo>
                  <a:cubicBezTo>
                    <a:pt x="416108" y="535773"/>
                    <a:pt x="413388" y="543932"/>
                    <a:pt x="410669" y="549371"/>
                  </a:cubicBezTo>
                  <a:cubicBezTo>
                    <a:pt x="405230" y="557531"/>
                    <a:pt x="397071" y="573848"/>
                    <a:pt x="391631" y="579288"/>
                  </a:cubicBezTo>
                  <a:cubicBezTo>
                    <a:pt x="369874" y="609204"/>
                    <a:pt x="350836" y="620083"/>
                    <a:pt x="337238" y="630961"/>
                  </a:cubicBezTo>
                  <a:cubicBezTo>
                    <a:pt x="326359" y="639120"/>
                    <a:pt x="315481" y="641840"/>
                    <a:pt x="301883" y="647279"/>
                  </a:cubicBezTo>
                  <a:cubicBezTo>
                    <a:pt x="291004" y="649999"/>
                    <a:pt x="277405" y="652718"/>
                    <a:pt x="263807" y="652718"/>
                  </a:cubicBezTo>
                  <a:cubicBezTo>
                    <a:pt x="252929" y="652718"/>
                    <a:pt x="244770" y="649999"/>
                    <a:pt x="233891" y="649999"/>
                  </a:cubicBezTo>
                  <a:cubicBezTo>
                    <a:pt x="206694" y="649999"/>
                    <a:pt x="217573" y="652718"/>
                    <a:pt x="187657" y="652718"/>
                  </a:cubicBezTo>
                  <a:cubicBezTo>
                    <a:pt x="184937" y="660877"/>
                    <a:pt x="179498" y="666317"/>
                    <a:pt x="171339" y="669036"/>
                  </a:cubicBezTo>
                  <a:cubicBezTo>
                    <a:pt x="165900" y="671756"/>
                    <a:pt x="160460" y="671756"/>
                    <a:pt x="155021" y="671756"/>
                  </a:cubicBezTo>
                  <a:cubicBezTo>
                    <a:pt x="149581" y="671756"/>
                    <a:pt x="144142" y="674476"/>
                    <a:pt x="138703" y="674476"/>
                  </a:cubicBezTo>
                  <a:cubicBezTo>
                    <a:pt x="135983" y="674476"/>
                    <a:pt x="127824" y="677195"/>
                    <a:pt x="125105" y="677195"/>
                  </a:cubicBezTo>
                  <a:cubicBezTo>
                    <a:pt x="116946" y="677195"/>
                    <a:pt x="108787" y="671756"/>
                    <a:pt x="106067" y="671756"/>
                  </a:cubicBezTo>
                  <a:cubicBezTo>
                    <a:pt x="100628" y="669036"/>
                    <a:pt x="95188" y="663597"/>
                    <a:pt x="87029" y="658158"/>
                  </a:cubicBezTo>
                  <a:cubicBezTo>
                    <a:pt x="84310" y="655438"/>
                    <a:pt x="81590" y="655438"/>
                    <a:pt x="81590" y="652718"/>
                  </a:cubicBezTo>
                  <a:cubicBezTo>
                    <a:pt x="73431" y="652718"/>
                    <a:pt x="81590" y="652718"/>
                    <a:pt x="67992" y="652718"/>
                  </a:cubicBezTo>
                  <a:cubicBezTo>
                    <a:pt x="59833" y="652718"/>
                    <a:pt x="51674" y="652718"/>
                    <a:pt x="43515" y="652718"/>
                  </a:cubicBezTo>
                  <a:cubicBezTo>
                    <a:pt x="35356" y="652718"/>
                    <a:pt x="24477" y="652718"/>
                    <a:pt x="16318" y="647279"/>
                  </a:cubicBezTo>
                  <a:cubicBezTo>
                    <a:pt x="8159" y="644559"/>
                    <a:pt x="0" y="636401"/>
                    <a:pt x="0" y="630961"/>
                  </a:cubicBezTo>
                  <a:cubicBezTo>
                    <a:pt x="0" y="625522"/>
                    <a:pt x="0" y="622802"/>
                    <a:pt x="5439" y="620083"/>
                  </a:cubicBezTo>
                  <a:cubicBezTo>
                    <a:pt x="10879" y="617363"/>
                    <a:pt x="21758" y="614643"/>
                    <a:pt x="27197" y="611924"/>
                  </a:cubicBezTo>
                  <a:cubicBezTo>
                    <a:pt x="38076" y="609204"/>
                    <a:pt x="54393" y="609204"/>
                    <a:pt x="65272" y="609204"/>
                  </a:cubicBezTo>
                  <a:cubicBezTo>
                    <a:pt x="65272" y="601045"/>
                    <a:pt x="65272" y="592886"/>
                    <a:pt x="65272" y="584727"/>
                  </a:cubicBezTo>
                  <a:cubicBezTo>
                    <a:pt x="65272" y="541213"/>
                    <a:pt x="62552" y="500418"/>
                    <a:pt x="62552" y="456903"/>
                  </a:cubicBezTo>
                  <a:cubicBezTo>
                    <a:pt x="62552" y="440585"/>
                    <a:pt x="65272" y="397071"/>
                    <a:pt x="65272" y="337238"/>
                  </a:cubicBezTo>
                  <a:cubicBezTo>
                    <a:pt x="65272" y="293724"/>
                    <a:pt x="67992" y="247490"/>
                    <a:pt x="67992" y="203975"/>
                  </a:cubicBezTo>
                  <a:cubicBezTo>
                    <a:pt x="67992" y="179498"/>
                    <a:pt x="67992" y="149582"/>
                    <a:pt x="70712" y="119665"/>
                  </a:cubicBezTo>
                  <a:cubicBezTo>
                    <a:pt x="70712" y="103347"/>
                    <a:pt x="73431" y="84309"/>
                    <a:pt x="73431" y="67992"/>
                  </a:cubicBezTo>
                  <a:cubicBezTo>
                    <a:pt x="73431" y="67992"/>
                    <a:pt x="70712" y="67992"/>
                    <a:pt x="67992" y="67992"/>
                  </a:cubicBezTo>
                  <a:cubicBezTo>
                    <a:pt x="59833" y="67992"/>
                    <a:pt x="51674" y="67992"/>
                    <a:pt x="43515" y="67992"/>
                  </a:cubicBezTo>
                  <a:cubicBezTo>
                    <a:pt x="35356" y="67992"/>
                    <a:pt x="24477" y="67992"/>
                    <a:pt x="16318" y="62552"/>
                  </a:cubicBezTo>
                  <a:cubicBezTo>
                    <a:pt x="8159" y="59833"/>
                    <a:pt x="0" y="51674"/>
                    <a:pt x="0" y="46234"/>
                  </a:cubicBezTo>
                  <a:cubicBezTo>
                    <a:pt x="0" y="43515"/>
                    <a:pt x="0" y="38075"/>
                    <a:pt x="5439" y="35356"/>
                  </a:cubicBezTo>
                  <a:cubicBezTo>
                    <a:pt x="10879" y="32636"/>
                    <a:pt x="21758" y="29916"/>
                    <a:pt x="27197" y="27197"/>
                  </a:cubicBezTo>
                  <a:cubicBezTo>
                    <a:pt x="46234" y="24477"/>
                    <a:pt x="65272" y="21758"/>
                    <a:pt x="76151" y="21758"/>
                  </a:cubicBezTo>
                  <a:cubicBezTo>
                    <a:pt x="76151" y="19038"/>
                    <a:pt x="78871" y="16318"/>
                    <a:pt x="81590" y="13598"/>
                  </a:cubicBezTo>
                  <a:cubicBezTo>
                    <a:pt x="84310" y="10879"/>
                    <a:pt x="92469" y="5439"/>
                    <a:pt x="97908" y="5439"/>
                  </a:cubicBezTo>
                  <a:cubicBezTo>
                    <a:pt x="103347" y="2720"/>
                    <a:pt x="108787" y="0"/>
                    <a:pt x="114226" y="0"/>
                  </a:cubicBezTo>
                  <a:close/>
                </a:path>
              </a:pathLst>
            </a:custGeom>
            <a:grpFill/>
            <a:ln w="27168"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4934C408-13C5-4FB2-BD64-5EDF00992F42}"/>
                </a:ext>
              </a:extLst>
            </p:cNvPr>
            <p:cNvSpPr/>
            <p:nvPr/>
          </p:nvSpPr>
          <p:spPr>
            <a:xfrm>
              <a:off x="7310622" y="4197597"/>
              <a:ext cx="489539" cy="761503"/>
            </a:xfrm>
            <a:custGeom>
              <a:avLst/>
              <a:gdLst>
                <a:gd name="connsiteX0" fmla="*/ 433491 w 489538"/>
                <a:gd name="connsiteY0" fmla="*/ 651063 h 761503"/>
                <a:gd name="connsiteX1" fmla="*/ 438930 w 489538"/>
                <a:gd name="connsiteY1" fmla="*/ 661942 h 761503"/>
                <a:gd name="connsiteX2" fmla="*/ 425332 w 489538"/>
                <a:gd name="connsiteY2" fmla="*/ 683699 h 761503"/>
                <a:gd name="connsiteX3" fmla="*/ 400855 w 489538"/>
                <a:gd name="connsiteY3" fmla="*/ 691858 h 761503"/>
                <a:gd name="connsiteX4" fmla="*/ 343742 w 489538"/>
                <a:gd name="connsiteY4" fmla="*/ 700017 h 761503"/>
                <a:gd name="connsiteX5" fmla="*/ 316546 w 489538"/>
                <a:gd name="connsiteY5" fmla="*/ 705456 h 761503"/>
                <a:gd name="connsiteX6" fmla="*/ 275751 w 489538"/>
                <a:gd name="connsiteY6" fmla="*/ 705456 h 761503"/>
                <a:gd name="connsiteX7" fmla="*/ 264872 w 489538"/>
                <a:gd name="connsiteY7" fmla="*/ 708176 h 761503"/>
                <a:gd name="connsiteX8" fmla="*/ 253994 w 489538"/>
                <a:gd name="connsiteY8" fmla="*/ 708176 h 761503"/>
                <a:gd name="connsiteX9" fmla="*/ 240395 w 489538"/>
                <a:gd name="connsiteY9" fmla="*/ 719054 h 761503"/>
                <a:gd name="connsiteX10" fmla="*/ 224077 w 489538"/>
                <a:gd name="connsiteY10" fmla="*/ 721774 h 761503"/>
                <a:gd name="connsiteX11" fmla="*/ 205040 w 489538"/>
                <a:gd name="connsiteY11" fmla="*/ 724494 h 761503"/>
                <a:gd name="connsiteX12" fmla="*/ 191441 w 489538"/>
                <a:gd name="connsiteY12" fmla="*/ 727213 h 761503"/>
                <a:gd name="connsiteX13" fmla="*/ 169684 w 489538"/>
                <a:gd name="connsiteY13" fmla="*/ 721774 h 761503"/>
                <a:gd name="connsiteX14" fmla="*/ 150646 w 489538"/>
                <a:gd name="connsiteY14" fmla="*/ 708176 h 761503"/>
                <a:gd name="connsiteX15" fmla="*/ 139768 w 489538"/>
                <a:gd name="connsiteY15" fmla="*/ 708176 h 761503"/>
                <a:gd name="connsiteX16" fmla="*/ 120730 w 489538"/>
                <a:gd name="connsiteY16" fmla="*/ 708176 h 761503"/>
                <a:gd name="connsiteX17" fmla="*/ 98973 w 489538"/>
                <a:gd name="connsiteY17" fmla="*/ 708176 h 761503"/>
                <a:gd name="connsiteX18" fmla="*/ 74496 w 489538"/>
                <a:gd name="connsiteY18" fmla="*/ 702736 h 761503"/>
                <a:gd name="connsiteX19" fmla="*/ 58178 w 489538"/>
                <a:gd name="connsiteY19" fmla="*/ 683699 h 761503"/>
                <a:gd name="connsiteX20" fmla="*/ 63617 w 489538"/>
                <a:gd name="connsiteY20" fmla="*/ 675540 h 761503"/>
                <a:gd name="connsiteX21" fmla="*/ 85375 w 489538"/>
                <a:gd name="connsiteY21" fmla="*/ 667381 h 761503"/>
                <a:gd name="connsiteX22" fmla="*/ 128889 w 489538"/>
                <a:gd name="connsiteY22" fmla="*/ 661942 h 761503"/>
                <a:gd name="connsiteX23" fmla="*/ 128889 w 489538"/>
                <a:gd name="connsiteY23" fmla="*/ 602109 h 761503"/>
                <a:gd name="connsiteX24" fmla="*/ 126170 w 489538"/>
                <a:gd name="connsiteY24" fmla="*/ 523239 h 761503"/>
                <a:gd name="connsiteX25" fmla="*/ 126170 w 489538"/>
                <a:gd name="connsiteY25" fmla="*/ 468846 h 761503"/>
                <a:gd name="connsiteX26" fmla="*/ 123450 w 489538"/>
                <a:gd name="connsiteY26" fmla="*/ 409014 h 761503"/>
                <a:gd name="connsiteX27" fmla="*/ 123450 w 489538"/>
                <a:gd name="connsiteY27" fmla="*/ 384537 h 761503"/>
                <a:gd name="connsiteX28" fmla="*/ 126170 w 489538"/>
                <a:gd name="connsiteY28" fmla="*/ 349181 h 761503"/>
                <a:gd name="connsiteX29" fmla="*/ 126170 w 489538"/>
                <a:gd name="connsiteY29" fmla="*/ 324704 h 761503"/>
                <a:gd name="connsiteX30" fmla="*/ 128889 w 489538"/>
                <a:gd name="connsiteY30" fmla="*/ 292068 h 761503"/>
                <a:gd name="connsiteX31" fmla="*/ 134329 w 489538"/>
                <a:gd name="connsiteY31" fmla="*/ 234956 h 761503"/>
                <a:gd name="connsiteX32" fmla="*/ 134329 w 489538"/>
                <a:gd name="connsiteY32" fmla="*/ 172404 h 761503"/>
                <a:gd name="connsiteX33" fmla="*/ 137048 w 489538"/>
                <a:gd name="connsiteY33" fmla="*/ 123450 h 761503"/>
                <a:gd name="connsiteX34" fmla="*/ 123450 w 489538"/>
                <a:gd name="connsiteY34" fmla="*/ 123450 h 761503"/>
                <a:gd name="connsiteX35" fmla="*/ 101693 w 489538"/>
                <a:gd name="connsiteY35" fmla="*/ 123450 h 761503"/>
                <a:gd name="connsiteX36" fmla="*/ 77216 w 489538"/>
                <a:gd name="connsiteY36" fmla="*/ 118011 h 761503"/>
                <a:gd name="connsiteX37" fmla="*/ 60898 w 489538"/>
                <a:gd name="connsiteY37" fmla="*/ 98973 h 761503"/>
                <a:gd name="connsiteX38" fmla="*/ 66337 w 489538"/>
                <a:gd name="connsiteY38" fmla="*/ 90814 h 761503"/>
                <a:gd name="connsiteX39" fmla="*/ 88094 w 489538"/>
                <a:gd name="connsiteY39" fmla="*/ 82655 h 761503"/>
                <a:gd name="connsiteX40" fmla="*/ 145207 w 489538"/>
                <a:gd name="connsiteY40" fmla="*/ 77216 h 761503"/>
                <a:gd name="connsiteX41" fmla="*/ 145207 w 489538"/>
                <a:gd name="connsiteY41" fmla="*/ 77216 h 761503"/>
                <a:gd name="connsiteX42" fmla="*/ 153366 w 489538"/>
                <a:gd name="connsiteY42" fmla="*/ 69057 h 761503"/>
                <a:gd name="connsiteX43" fmla="*/ 177843 w 489538"/>
                <a:gd name="connsiteY43" fmla="*/ 60898 h 761503"/>
                <a:gd name="connsiteX44" fmla="*/ 196881 w 489538"/>
                <a:gd name="connsiteY44" fmla="*/ 58178 h 761503"/>
                <a:gd name="connsiteX45" fmla="*/ 205040 w 489538"/>
                <a:gd name="connsiteY45" fmla="*/ 58178 h 761503"/>
                <a:gd name="connsiteX46" fmla="*/ 215919 w 489538"/>
                <a:gd name="connsiteY46" fmla="*/ 63617 h 761503"/>
                <a:gd name="connsiteX47" fmla="*/ 229517 w 489538"/>
                <a:gd name="connsiteY47" fmla="*/ 69057 h 761503"/>
                <a:gd name="connsiteX48" fmla="*/ 256713 w 489538"/>
                <a:gd name="connsiteY48" fmla="*/ 77216 h 761503"/>
                <a:gd name="connsiteX49" fmla="*/ 264872 w 489538"/>
                <a:gd name="connsiteY49" fmla="*/ 77216 h 761503"/>
                <a:gd name="connsiteX50" fmla="*/ 281190 w 489538"/>
                <a:gd name="connsiteY50" fmla="*/ 77216 h 761503"/>
                <a:gd name="connsiteX51" fmla="*/ 330144 w 489538"/>
                <a:gd name="connsiteY51" fmla="*/ 77216 h 761503"/>
                <a:gd name="connsiteX52" fmla="*/ 357341 w 489538"/>
                <a:gd name="connsiteY52" fmla="*/ 79935 h 761503"/>
                <a:gd name="connsiteX53" fmla="*/ 387257 w 489538"/>
                <a:gd name="connsiteY53" fmla="*/ 82655 h 761503"/>
                <a:gd name="connsiteX54" fmla="*/ 406295 w 489538"/>
                <a:gd name="connsiteY54" fmla="*/ 85375 h 761503"/>
                <a:gd name="connsiteX55" fmla="*/ 417173 w 489538"/>
                <a:gd name="connsiteY55" fmla="*/ 79935 h 761503"/>
                <a:gd name="connsiteX56" fmla="*/ 425332 w 489538"/>
                <a:gd name="connsiteY56" fmla="*/ 85375 h 761503"/>
                <a:gd name="connsiteX57" fmla="*/ 433491 w 489538"/>
                <a:gd name="connsiteY57" fmla="*/ 104412 h 761503"/>
                <a:gd name="connsiteX58" fmla="*/ 436211 w 489538"/>
                <a:gd name="connsiteY58" fmla="*/ 137048 h 761503"/>
                <a:gd name="connsiteX59" fmla="*/ 438930 w 489538"/>
                <a:gd name="connsiteY59" fmla="*/ 183282 h 761503"/>
                <a:gd name="connsiteX60" fmla="*/ 422612 w 489538"/>
                <a:gd name="connsiteY60" fmla="*/ 218638 h 761503"/>
                <a:gd name="connsiteX61" fmla="*/ 406295 w 489538"/>
                <a:gd name="connsiteY61" fmla="*/ 213198 h 761503"/>
                <a:gd name="connsiteX62" fmla="*/ 398136 w 489538"/>
                <a:gd name="connsiteY62" fmla="*/ 196881 h 761503"/>
                <a:gd name="connsiteX63" fmla="*/ 395416 w 489538"/>
                <a:gd name="connsiteY63" fmla="*/ 175123 h 761503"/>
                <a:gd name="connsiteX64" fmla="*/ 395416 w 489538"/>
                <a:gd name="connsiteY64" fmla="*/ 153366 h 761503"/>
                <a:gd name="connsiteX65" fmla="*/ 395416 w 489538"/>
                <a:gd name="connsiteY65" fmla="*/ 126170 h 761503"/>
                <a:gd name="connsiteX66" fmla="*/ 370939 w 489538"/>
                <a:gd name="connsiteY66" fmla="*/ 128889 h 761503"/>
                <a:gd name="connsiteX67" fmla="*/ 338303 w 489538"/>
                <a:gd name="connsiteY67" fmla="*/ 131609 h 761503"/>
                <a:gd name="connsiteX68" fmla="*/ 286629 w 489538"/>
                <a:gd name="connsiteY68" fmla="*/ 134328 h 761503"/>
                <a:gd name="connsiteX69" fmla="*/ 273031 w 489538"/>
                <a:gd name="connsiteY69" fmla="*/ 137048 h 761503"/>
                <a:gd name="connsiteX70" fmla="*/ 262153 w 489538"/>
                <a:gd name="connsiteY70" fmla="*/ 142487 h 761503"/>
                <a:gd name="connsiteX71" fmla="*/ 259433 w 489538"/>
                <a:gd name="connsiteY71" fmla="*/ 153366 h 761503"/>
                <a:gd name="connsiteX72" fmla="*/ 262153 w 489538"/>
                <a:gd name="connsiteY72" fmla="*/ 166964 h 761503"/>
                <a:gd name="connsiteX73" fmla="*/ 262153 w 489538"/>
                <a:gd name="connsiteY73" fmla="*/ 196881 h 761503"/>
                <a:gd name="connsiteX74" fmla="*/ 262153 w 489538"/>
                <a:gd name="connsiteY74" fmla="*/ 215918 h 761503"/>
                <a:gd name="connsiteX75" fmla="*/ 262153 w 489538"/>
                <a:gd name="connsiteY75" fmla="*/ 251274 h 761503"/>
                <a:gd name="connsiteX76" fmla="*/ 259433 w 489538"/>
                <a:gd name="connsiteY76" fmla="*/ 278470 h 761503"/>
                <a:gd name="connsiteX77" fmla="*/ 259433 w 489538"/>
                <a:gd name="connsiteY77" fmla="*/ 308386 h 761503"/>
                <a:gd name="connsiteX78" fmla="*/ 259433 w 489538"/>
                <a:gd name="connsiteY78" fmla="*/ 321985 h 761503"/>
                <a:gd name="connsiteX79" fmla="*/ 259433 w 489538"/>
                <a:gd name="connsiteY79" fmla="*/ 332863 h 761503"/>
                <a:gd name="connsiteX80" fmla="*/ 267592 w 489538"/>
                <a:gd name="connsiteY80" fmla="*/ 335583 h 761503"/>
                <a:gd name="connsiteX81" fmla="*/ 281190 w 489538"/>
                <a:gd name="connsiteY81" fmla="*/ 335583 h 761503"/>
                <a:gd name="connsiteX82" fmla="*/ 327424 w 489538"/>
                <a:gd name="connsiteY82" fmla="*/ 338303 h 761503"/>
                <a:gd name="connsiteX83" fmla="*/ 351901 w 489538"/>
                <a:gd name="connsiteY83" fmla="*/ 341022 h 761503"/>
                <a:gd name="connsiteX84" fmla="*/ 351901 w 489538"/>
                <a:gd name="connsiteY84" fmla="*/ 335583 h 761503"/>
                <a:gd name="connsiteX85" fmla="*/ 351901 w 489538"/>
                <a:gd name="connsiteY85" fmla="*/ 313826 h 761503"/>
                <a:gd name="connsiteX86" fmla="*/ 357341 w 489538"/>
                <a:gd name="connsiteY86" fmla="*/ 289349 h 761503"/>
                <a:gd name="connsiteX87" fmla="*/ 373658 w 489538"/>
                <a:gd name="connsiteY87" fmla="*/ 273031 h 761503"/>
                <a:gd name="connsiteX88" fmla="*/ 381817 w 489538"/>
                <a:gd name="connsiteY88" fmla="*/ 278470 h 761503"/>
                <a:gd name="connsiteX89" fmla="*/ 389977 w 489538"/>
                <a:gd name="connsiteY89" fmla="*/ 300228 h 761503"/>
                <a:gd name="connsiteX90" fmla="*/ 395416 w 489538"/>
                <a:gd name="connsiteY90" fmla="*/ 351901 h 761503"/>
                <a:gd name="connsiteX91" fmla="*/ 398136 w 489538"/>
                <a:gd name="connsiteY91" fmla="*/ 409014 h 761503"/>
                <a:gd name="connsiteX92" fmla="*/ 381817 w 489538"/>
                <a:gd name="connsiteY92" fmla="*/ 444369 h 761503"/>
                <a:gd name="connsiteX93" fmla="*/ 365500 w 489538"/>
                <a:gd name="connsiteY93" fmla="*/ 438930 h 761503"/>
                <a:gd name="connsiteX94" fmla="*/ 357341 w 489538"/>
                <a:gd name="connsiteY94" fmla="*/ 422612 h 761503"/>
                <a:gd name="connsiteX95" fmla="*/ 354621 w 489538"/>
                <a:gd name="connsiteY95" fmla="*/ 400855 h 761503"/>
                <a:gd name="connsiteX96" fmla="*/ 354621 w 489538"/>
                <a:gd name="connsiteY96" fmla="*/ 381817 h 761503"/>
                <a:gd name="connsiteX97" fmla="*/ 270312 w 489538"/>
                <a:gd name="connsiteY97" fmla="*/ 381817 h 761503"/>
                <a:gd name="connsiteX98" fmla="*/ 256713 w 489538"/>
                <a:gd name="connsiteY98" fmla="*/ 395415 h 761503"/>
                <a:gd name="connsiteX99" fmla="*/ 253994 w 489538"/>
                <a:gd name="connsiteY99" fmla="*/ 422612 h 761503"/>
                <a:gd name="connsiteX100" fmla="*/ 253994 w 489538"/>
                <a:gd name="connsiteY100" fmla="*/ 433490 h 761503"/>
                <a:gd name="connsiteX101" fmla="*/ 253994 w 489538"/>
                <a:gd name="connsiteY101" fmla="*/ 449809 h 761503"/>
                <a:gd name="connsiteX102" fmla="*/ 256713 w 489538"/>
                <a:gd name="connsiteY102" fmla="*/ 474285 h 761503"/>
                <a:gd name="connsiteX103" fmla="*/ 256713 w 489538"/>
                <a:gd name="connsiteY103" fmla="*/ 496043 h 761503"/>
                <a:gd name="connsiteX104" fmla="*/ 259433 w 489538"/>
                <a:gd name="connsiteY104" fmla="*/ 534118 h 761503"/>
                <a:gd name="connsiteX105" fmla="*/ 259433 w 489538"/>
                <a:gd name="connsiteY105" fmla="*/ 591231 h 761503"/>
                <a:gd name="connsiteX106" fmla="*/ 262153 w 489538"/>
                <a:gd name="connsiteY106" fmla="*/ 618427 h 761503"/>
                <a:gd name="connsiteX107" fmla="*/ 267592 w 489538"/>
                <a:gd name="connsiteY107" fmla="*/ 648343 h 761503"/>
                <a:gd name="connsiteX108" fmla="*/ 292069 w 489538"/>
                <a:gd name="connsiteY108" fmla="*/ 651063 h 761503"/>
                <a:gd name="connsiteX109" fmla="*/ 327424 w 489538"/>
                <a:gd name="connsiteY109" fmla="*/ 651063 h 761503"/>
                <a:gd name="connsiteX110" fmla="*/ 362780 w 489538"/>
                <a:gd name="connsiteY110" fmla="*/ 653783 h 761503"/>
                <a:gd name="connsiteX111" fmla="*/ 395416 w 489538"/>
                <a:gd name="connsiteY111" fmla="*/ 648343 h 761503"/>
                <a:gd name="connsiteX112" fmla="*/ 395416 w 489538"/>
                <a:gd name="connsiteY112" fmla="*/ 618427 h 761503"/>
                <a:gd name="connsiteX113" fmla="*/ 395416 w 489538"/>
                <a:gd name="connsiteY113" fmla="*/ 596670 h 761503"/>
                <a:gd name="connsiteX114" fmla="*/ 398136 w 489538"/>
                <a:gd name="connsiteY114" fmla="*/ 574913 h 761503"/>
                <a:gd name="connsiteX115" fmla="*/ 406295 w 489538"/>
                <a:gd name="connsiteY115" fmla="*/ 558595 h 761503"/>
                <a:gd name="connsiteX116" fmla="*/ 422612 w 489538"/>
                <a:gd name="connsiteY116" fmla="*/ 553155 h 761503"/>
                <a:gd name="connsiteX117" fmla="*/ 438930 w 489538"/>
                <a:gd name="connsiteY117" fmla="*/ 588511 h 761503"/>
                <a:gd name="connsiteX118" fmla="*/ 436211 w 489538"/>
                <a:gd name="connsiteY118" fmla="*/ 645624 h 761503"/>
                <a:gd name="connsiteX119" fmla="*/ 433491 w 489538"/>
                <a:gd name="connsiteY119" fmla="*/ 651063 h 761503"/>
                <a:gd name="connsiteX120" fmla="*/ 433491 w 489538"/>
                <a:gd name="connsiteY120" fmla="*/ 651063 h 76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489538" h="761503">
                  <a:moveTo>
                    <a:pt x="433491" y="651063"/>
                  </a:moveTo>
                  <a:cubicBezTo>
                    <a:pt x="436211" y="653783"/>
                    <a:pt x="438930" y="656502"/>
                    <a:pt x="438930" y="661942"/>
                  </a:cubicBezTo>
                  <a:cubicBezTo>
                    <a:pt x="438930" y="670101"/>
                    <a:pt x="433491" y="678259"/>
                    <a:pt x="425332" y="683699"/>
                  </a:cubicBezTo>
                  <a:cubicBezTo>
                    <a:pt x="417173" y="689138"/>
                    <a:pt x="409014" y="689138"/>
                    <a:pt x="400855" y="691858"/>
                  </a:cubicBezTo>
                  <a:cubicBezTo>
                    <a:pt x="381817" y="694578"/>
                    <a:pt x="362780" y="694578"/>
                    <a:pt x="343742" y="700017"/>
                  </a:cubicBezTo>
                  <a:cubicBezTo>
                    <a:pt x="335583" y="702736"/>
                    <a:pt x="324705" y="702736"/>
                    <a:pt x="316546" y="705456"/>
                  </a:cubicBezTo>
                  <a:cubicBezTo>
                    <a:pt x="308387" y="705456"/>
                    <a:pt x="289349" y="705456"/>
                    <a:pt x="275751" y="705456"/>
                  </a:cubicBezTo>
                  <a:cubicBezTo>
                    <a:pt x="270312" y="705456"/>
                    <a:pt x="267592" y="708176"/>
                    <a:pt x="264872" y="708176"/>
                  </a:cubicBezTo>
                  <a:cubicBezTo>
                    <a:pt x="264872" y="708176"/>
                    <a:pt x="259433" y="708176"/>
                    <a:pt x="253994" y="708176"/>
                  </a:cubicBezTo>
                  <a:cubicBezTo>
                    <a:pt x="251274" y="713615"/>
                    <a:pt x="245835" y="716335"/>
                    <a:pt x="240395" y="719054"/>
                  </a:cubicBezTo>
                  <a:cubicBezTo>
                    <a:pt x="234956" y="721774"/>
                    <a:pt x="229517" y="721774"/>
                    <a:pt x="224077" y="721774"/>
                  </a:cubicBezTo>
                  <a:cubicBezTo>
                    <a:pt x="218638" y="721774"/>
                    <a:pt x="213199" y="724494"/>
                    <a:pt x="205040" y="724494"/>
                  </a:cubicBezTo>
                  <a:cubicBezTo>
                    <a:pt x="202320" y="724494"/>
                    <a:pt x="194161" y="727213"/>
                    <a:pt x="191441" y="727213"/>
                  </a:cubicBezTo>
                  <a:cubicBezTo>
                    <a:pt x="183282" y="727213"/>
                    <a:pt x="172404" y="721774"/>
                    <a:pt x="169684" y="721774"/>
                  </a:cubicBezTo>
                  <a:cubicBezTo>
                    <a:pt x="164245" y="719054"/>
                    <a:pt x="156086" y="713615"/>
                    <a:pt x="150646" y="708176"/>
                  </a:cubicBezTo>
                  <a:cubicBezTo>
                    <a:pt x="145207" y="708176"/>
                    <a:pt x="139768" y="708176"/>
                    <a:pt x="139768" y="708176"/>
                  </a:cubicBezTo>
                  <a:cubicBezTo>
                    <a:pt x="126170" y="708176"/>
                    <a:pt x="137048" y="708176"/>
                    <a:pt x="120730" y="708176"/>
                  </a:cubicBezTo>
                  <a:cubicBezTo>
                    <a:pt x="112571" y="708176"/>
                    <a:pt x="104412" y="708176"/>
                    <a:pt x="98973" y="708176"/>
                  </a:cubicBezTo>
                  <a:cubicBezTo>
                    <a:pt x="90814" y="708176"/>
                    <a:pt x="79936" y="708176"/>
                    <a:pt x="74496" y="702736"/>
                  </a:cubicBezTo>
                  <a:cubicBezTo>
                    <a:pt x="66337" y="700017"/>
                    <a:pt x="58178" y="689138"/>
                    <a:pt x="58178" y="683699"/>
                  </a:cubicBezTo>
                  <a:cubicBezTo>
                    <a:pt x="58178" y="680979"/>
                    <a:pt x="58178" y="678259"/>
                    <a:pt x="63617" y="675540"/>
                  </a:cubicBezTo>
                  <a:cubicBezTo>
                    <a:pt x="69057" y="672820"/>
                    <a:pt x="77216" y="670101"/>
                    <a:pt x="85375" y="667381"/>
                  </a:cubicBezTo>
                  <a:cubicBezTo>
                    <a:pt x="98973" y="664661"/>
                    <a:pt x="115291" y="664661"/>
                    <a:pt x="128889" y="661942"/>
                  </a:cubicBezTo>
                  <a:cubicBezTo>
                    <a:pt x="128889" y="645624"/>
                    <a:pt x="128889" y="623866"/>
                    <a:pt x="128889" y="602109"/>
                  </a:cubicBezTo>
                  <a:cubicBezTo>
                    <a:pt x="128889" y="566754"/>
                    <a:pt x="128889" y="531398"/>
                    <a:pt x="126170" y="523239"/>
                  </a:cubicBezTo>
                  <a:cubicBezTo>
                    <a:pt x="126170" y="517800"/>
                    <a:pt x="126170" y="487884"/>
                    <a:pt x="126170" y="468846"/>
                  </a:cubicBezTo>
                  <a:cubicBezTo>
                    <a:pt x="126170" y="449809"/>
                    <a:pt x="123450" y="430771"/>
                    <a:pt x="123450" y="409014"/>
                  </a:cubicBezTo>
                  <a:cubicBezTo>
                    <a:pt x="123450" y="400855"/>
                    <a:pt x="123450" y="392696"/>
                    <a:pt x="123450" y="384537"/>
                  </a:cubicBezTo>
                  <a:cubicBezTo>
                    <a:pt x="123450" y="373658"/>
                    <a:pt x="126170" y="360060"/>
                    <a:pt x="126170" y="349181"/>
                  </a:cubicBezTo>
                  <a:cubicBezTo>
                    <a:pt x="126170" y="341022"/>
                    <a:pt x="126170" y="332863"/>
                    <a:pt x="126170" y="324704"/>
                  </a:cubicBezTo>
                  <a:cubicBezTo>
                    <a:pt x="126170" y="313826"/>
                    <a:pt x="126170" y="302947"/>
                    <a:pt x="128889" y="292068"/>
                  </a:cubicBezTo>
                  <a:cubicBezTo>
                    <a:pt x="131609" y="273031"/>
                    <a:pt x="134329" y="253993"/>
                    <a:pt x="134329" y="234956"/>
                  </a:cubicBezTo>
                  <a:cubicBezTo>
                    <a:pt x="134329" y="213198"/>
                    <a:pt x="134329" y="191441"/>
                    <a:pt x="134329" y="172404"/>
                  </a:cubicBezTo>
                  <a:cubicBezTo>
                    <a:pt x="134329" y="156086"/>
                    <a:pt x="134329" y="139768"/>
                    <a:pt x="137048" y="123450"/>
                  </a:cubicBezTo>
                  <a:cubicBezTo>
                    <a:pt x="131609" y="123450"/>
                    <a:pt x="134329" y="123450"/>
                    <a:pt x="123450" y="123450"/>
                  </a:cubicBezTo>
                  <a:cubicBezTo>
                    <a:pt x="115291" y="123450"/>
                    <a:pt x="107132" y="123450"/>
                    <a:pt x="101693" y="123450"/>
                  </a:cubicBezTo>
                  <a:cubicBezTo>
                    <a:pt x="93534" y="123450"/>
                    <a:pt x="82655" y="123450"/>
                    <a:pt x="77216" y="118011"/>
                  </a:cubicBezTo>
                  <a:cubicBezTo>
                    <a:pt x="69057" y="115291"/>
                    <a:pt x="60898" y="101693"/>
                    <a:pt x="60898" y="98973"/>
                  </a:cubicBezTo>
                  <a:cubicBezTo>
                    <a:pt x="60898" y="96253"/>
                    <a:pt x="60898" y="93534"/>
                    <a:pt x="66337" y="90814"/>
                  </a:cubicBezTo>
                  <a:cubicBezTo>
                    <a:pt x="71777" y="88094"/>
                    <a:pt x="79936" y="85375"/>
                    <a:pt x="88094" y="82655"/>
                  </a:cubicBezTo>
                  <a:cubicBezTo>
                    <a:pt x="104412" y="79935"/>
                    <a:pt x="131609" y="77216"/>
                    <a:pt x="145207" y="77216"/>
                  </a:cubicBezTo>
                  <a:cubicBezTo>
                    <a:pt x="145207" y="77216"/>
                    <a:pt x="145207" y="77216"/>
                    <a:pt x="145207" y="77216"/>
                  </a:cubicBezTo>
                  <a:cubicBezTo>
                    <a:pt x="145207" y="74496"/>
                    <a:pt x="150646" y="71776"/>
                    <a:pt x="153366" y="69057"/>
                  </a:cubicBezTo>
                  <a:cubicBezTo>
                    <a:pt x="161525" y="63617"/>
                    <a:pt x="169684" y="63617"/>
                    <a:pt x="177843" y="60898"/>
                  </a:cubicBezTo>
                  <a:cubicBezTo>
                    <a:pt x="183282" y="58178"/>
                    <a:pt x="191441" y="58178"/>
                    <a:pt x="196881" y="58178"/>
                  </a:cubicBezTo>
                  <a:cubicBezTo>
                    <a:pt x="199600" y="58178"/>
                    <a:pt x="202320" y="58178"/>
                    <a:pt x="205040" y="58178"/>
                  </a:cubicBezTo>
                  <a:cubicBezTo>
                    <a:pt x="207759" y="58178"/>
                    <a:pt x="213199" y="60898"/>
                    <a:pt x="215919" y="63617"/>
                  </a:cubicBezTo>
                  <a:cubicBezTo>
                    <a:pt x="221358" y="66337"/>
                    <a:pt x="224077" y="66337"/>
                    <a:pt x="229517" y="69057"/>
                  </a:cubicBezTo>
                  <a:cubicBezTo>
                    <a:pt x="237675" y="71776"/>
                    <a:pt x="245835" y="77216"/>
                    <a:pt x="256713" y="77216"/>
                  </a:cubicBezTo>
                  <a:cubicBezTo>
                    <a:pt x="259433" y="77216"/>
                    <a:pt x="262153" y="77216"/>
                    <a:pt x="264872" y="77216"/>
                  </a:cubicBezTo>
                  <a:cubicBezTo>
                    <a:pt x="270312" y="77216"/>
                    <a:pt x="275751" y="77216"/>
                    <a:pt x="281190" y="77216"/>
                  </a:cubicBezTo>
                  <a:cubicBezTo>
                    <a:pt x="292069" y="77216"/>
                    <a:pt x="321985" y="77216"/>
                    <a:pt x="330144" y="77216"/>
                  </a:cubicBezTo>
                  <a:cubicBezTo>
                    <a:pt x="338303" y="77216"/>
                    <a:pt x="349182" y="77216"/>
                    <a:pt x="357341" y="79935"/>
                  </a:cubicBezTo>
                  <a:cubicBezTo>
                    <a:pt x="368219" y="79935"/>
                    <a:pt x="379098" y="82655"/>
                    <a:pt x="387257" y="82655"/>
                  </a:cubicBezTo>
                  <a:cubicBezTo>
                    <a:pt x="392696" y="82655"/>
                    <a:pt x="400855" y="85375"/>
                    <a:pt x="406295" y="85375"/>
                  </a:cubicBezTo>
                  <a:cubicBezTo>
                    <a:pt x="409014" y="82655"/>
                    <a:pt x="414453" y="79935"/>
                    <a:pt x="417173" y="79935"/>
                  </a:cubicBezTo>
                  <a:cubicBezTo>
                    <a:pt x="419893" y="79935"/>
                    <a:pt x="422612" y="79935"/>
                    <a:pt x="425332" y="85375"/>
                  </a:cubicBezTo>
                  <a:cubicBezTo>
                    <a:pt x="428052" y="90814"/>
                    <a:pt x="433491" y="98973"/>
                    <a:pt x="433491" y="104412"/>
                  </a:cubicBezTo>
                  <a:cubicBezTo>
                    <a:pt x="436211" y="131609"/>
                    <a:pt x="436211" y="120730"/>
                    <a:pt x="436211" y="137048"/>
                  </a:cubicBezTo>
                  <a:cubicBezTo>
                    <a:pt x="438930" y="158805"/>
                    <a:pt x="438930" y="158805"/>
                    <a:pt x="438930" y="183282"/>
                  </a:cubicBezTo>
                  <a:cubicBezTo>
                    <a:pt x="438930" y="194161"/>
                    <a:pt x="438930" y="218638"/>
                    <a:pt x="422612" y="218638"/>
                  </a:cubicBezTo>
                  <a:cubicBezTo>
                    <a:pt x="414453" y="218638"/>
                    <a:pt x="411734" y="215918"/>
                    <a:pt x="406295" y="213198"/>
                  </a:cubicBezTo>
                  <a:cubicBezTo>
                    <a:pt x="400855" y="210479"/>
                    <a:pt x="398136" y="202320"/>
                    <a:pt x="398136" y="196881"/>
                  </a:cubicBezTo>
                  <a:cubicBezTo>
                    <a:pt x="395416" y="188722"/>
                    <a:pt x="395416" y="183282"/>
                    <a:pt x="395416" y="175123"/>
                  </a:cubicBezTo>
                  <a:cubicBezTo>
                    <a:pt x="395416" y="169684"/>
                    <a:pt x="395416" y="164245"/>
                    <a:pt x="395416" y="153366"/>
                  </a:cubicBezTo>
                  <a:cubicBezTo>
                    <a:pt x="395416" y="145207"/>
                    <a:pt x="395416" y="134328"/>
                    <a:pt x="395416" y="126170"/>
                  </a:cubicBezTo>
                  <a:cubicBezTo>
                    <a:pt x="387257" y="128889"/>
                    <a:pt x="379098" y="128889"/>
                    <a:pt x="370939" y="128889"/>
                  </a:cubicBezTo>
                  <a:cubicBezTo>
                    <a:pt x="360060" y="128889"/>
                    <a:pt x="349182" y="128889"/>
                    <a:pt x="338303" y="131609"/>
                  </a:cubicBezTo>
                  <a:cubicBezTo>
                    <a:pt x="327424" y="131609"/>
                    <a:pt x="319265" y="134328"/>
                    <a:pt x="286629" y="134328"/>
                  </a:cubicBezTo>
                  <a:cubicBezTo>
                    <a:pt x="281190" y="134328"/>
                    <a:pt x="278470" y="134328"/>
                    <a:pt x="273031" y="137048"/>
                  </a:cubicBezTo>
                  <a:cubicBezTo>
                    <a:pt x="270312" y="137048"/>
                    <a:pt x="264872" y="137048"/>
                    <a:pt x="262153" y="142487"/>
                  </a:cubicBezTo>
                  <a:cubicBezTo>
                    <a:pt x="259433" y="145207"/>
                    <a:pt x="259433" y="150647"/>
                    <a:pt x="259433" y="153366"/>
                  </a:cubicBezTo>
                  <a:cubicBezTo>
                    <a:pt x="259433" y="158805"/>
                    <a:pt x="259433" y="164245"/>
                    <a:pt x="262153" y="166964"/>
                  </a:cubicBezTo>
                  <a:cubicBezTo>
                    <a:pt x="262153" y="177843"/>
                    <a:pt x="262153" y="186002"/>
                    <a:pt x="262153" y="196881"/>
                  </a:cubicBezTo>
                  <a:cubicBezTo>
                    <a:pt x="262153" y="202320"/>
                    <a:pt x="262153" y="210479"/>
                    <a:pt x="262153" y="215918"/>
                  </a:cubicBezTo>
                  <a:cubicBezTo>
                    <a:pt x="262153" y="229516"/>
                    <a:pt x="262153" y="240395"/>
                    <a:pt x="262153" y="251274"/>
                  </a:cubicBezTo>
                  <a:cubicBezTo>
                    <a:pt x="262153" y="259433"/>
                    <a:pt x="259433" y="270311"/>
                    <a:pt x="259433" y="278470"/>
                  </a:cubicBezTo>
                  <a:cubicBezTo>
                    <a:pt x="259433" y="289349"/>
                    <a:pt x="259433" y="297508"/>
                    <a:pt x="259433" y="308386"/>
                  </a:cubicBezTo>
                  <a:cubicBezTo>
                    <a:pt x="259433" y="313826"/>
                    <a:pt x="259433" y="319265"/>
                    <a:pt x="259433" y="321985"/>
                  </a:cubicBezTo>
                  <a:cubicBezTo>
                    <a:pt x="259433" y="324704"/>
                    <a:pt x="259433" y="330144"/>
                    <a:pt x="259433" y="332863"/>
                  </a:cubicBezTo>
                  <a:cubicBezTo>
                    <a:pt x="262153" y="335583"/>
                    <a:pt x="264872" y="335583"/>
                    <a:pt x="267592" y="335583"/>
                  </a:cubicBezTo>
                  <a:cubicBezTo>
                    <a:pt x="273031" y="335583"/>
                    <a:pt x="275751" y="335583"/>
                    <a:pt x="281190" y="335583"/>
                  </a:cubicBezTo>
                  <a:cubicBezTo>
                    <a:pt x="311107" y="335583"/>
                    <a:pt x="319265" y="335583"/>
                    <a:pt x="327424" y="338303"/>
                  </a:cubicBezTo>
                  <a:cubicBezTo>
                    <a:pt x="335583" y="341022"/>
                    <a:pt x="343742" y="341022"/>
                    <a:pt x="351901" y="341022"/>
                  </a:cubicBezTo>
                  <a:cubicBezTo>
                    <a:pt x="351901" y="338303"/>
                    <a:pt x="351901" y="338303"/>
                    <a:pt x="351901" y="335583"/>
                  </a:cubicBezTo>
                  <a:cubicBezTo>
                    <a:pt x="351901" y="327424"/>
                    <a:pt x="351901" y="319265"/>
                    <a:pt x="351901" y="313826"/>
                  </a:cubicBezTo>
                  <a:cubicBezTo>
                    <a:pt x="351901" y="305667"/>
                    <a:pt x="351901" y="294788"/>
                    <a:pt x="357341" y="289349"/>
                  </a:cubicBezTo>
                  <a:cubicBezTo>
                    <a:pt x="360060" y="281190"/>
                    <a:pt x="368219" y="273031"/>
                    <a:pt x="373658" y="273031"/>
                  </a:cubicBezTo>
                  <a:cubicBezTo>
                    <a:pt x="376378" y="273031"/>
                    <a:pt x="379098" y="273031"/>
                    <a:pt x="381817" y="278470"/>
                  </a:cubicBezTo>
                  <a:cubicBezTo>
                    <a:pt x="384537" y="283909"/>
                    <a:pt x="387257" y="292068"/>
                    <a:pt x="389977" y="300228"/>
                  </a:cubicBezTo>
                  <a:cubicBezTo>
                    <a:pt x="392696" y="316545"/>
                    <a:pt x="392696" y="335583"/>
                    <a:pt x="395416" y="351901"/>
                  </a:cubicBezTo>
                  <a:cubicBezTo>
                    <a:pt x="398136" y="373658"/>
                    <a:pt x="398136" y="384537"/>
                    <a:pt x="398136" y="409014"/>
                  </a:cubicBezTo>
                  <a:cubicBezTo>
                    <a:pt x="398136" y="422612"/>
                    <a:pt x="398136" y="444369"/>
                    <a:pt x="381817" y="444369"/>
                  </a:cubicBezTo>
                  <a:cubicBezTo>
                    <a:pt x="373658" y="444369"/>
                    <a:pt x="370939" y="441650"/>
                    <a:pt x="365500" y="438930"/>
                  </a:cubicBezTo>
                  <a:cubicBezTo>
                    <a:pt x="360060" y="436210"/>
                    <a:pt x="357341" y="428051"/>
                    <a:pt x="357341" y="422612"/>
                  </a:cubicBezTo>
                  <a:cubicBezTo>
                    <a:pt x="354621" y="414453"/>
                    <a:pt x="354621" y="409014"/>
                    <a:pt x="354621" y="400855"/>
                  </a:cubicBezTo>
                  <a:cubicBezTo>
                    <a:pt x="354621" y="395415"/>
                    <a:pt x="354621" y="389976"/>
                    <a:pt x="354621" y="381817"/>
                  </a:cubicBezTo>
                  <a:cubicBezTo>
                    <a:pt x="335583" y="381817"/>
                    <a:pt x="308387" y="384537"/>
                    <a:pt x="270312" y="381817"/>
                  </a:cubicBezTo>
                  <a:cubicBezTo>
                    <a:pt x="262153" y="381817"/>
                    <a:pt x="256713" y="387256"/>
                    <a:pt x="256713" y="395415"/>
                  </a:cubicBezTo>
                  <a:cubicBezTo>
                    <a:pt x="256713" y="403574"/>
                    <a:pt x="256713" y="414453"/>
                    <a:pt x="253994" y="422612"/>
                  </a:cubicBezTo>
                  <a:cubicBezTo>
                    <a:pt x="253994" y="425332"/>
                    <a:pt x="253994" y="430771"/>
                    <a:pt x="253994" y="433490"/>
                  </a:cubicBezTo>
                  <a:cubicBezTo>
                    <a:pt x="253994" y="438930"/>
                    <a:pt x="253994" y="444369"/>
                    <a:pt x="253994" y="449809"/>
                  </a:cubicBezTo>
                  <a:cubicBezTo>
                    <a:pt x="253994" y="457967"/>
                    <a:pt x="256713" y="466126"/>
                    <a:pt x="256713" y="474285"/>
                  </a:cubicBezTo>
                  <a:cubicBezTo>
                    <a:pt x="256713" y="482444"/>
                    <a:pt x="256713" y="490603"/>
                    <a:pt x="256713" y="496043"/>
                  </a:cubicBezTo>
                  <a:cubicBezTo>
                    <a:pt x="256713" y="509641"/>
                    <a:pt x="259433" y="520520"/>
                    <a:pt x="259433" y="534118"/>
                  </a:cubicBezTo>
                  <a:cubicBezTo>
                    <a:pt x="259433" y="553155"/>
                    <a:pt x="259433" y="572193"/>
                    <a:pt x="259433" y="591231"/>
                  </a:cubicBezTo>
                  <a:cubicBezTo>
                    <a:pt x="259433" y="602109"/>
                    <a:pt x="262153" y="610268"/>
                    <a:pt x="262153" y="618427"/>
                  </a:cubicBezTo>
                  <a:cubicBezTo>
                    <a:pt x="264872" y="626586"/>
                    <a:pt x="262153" y="642904"/>
                    <a:pt x="267592" y="648343"/>
                  </a:cubicBezTo>
                  <a:cubicBezTo>
                    <a:pt x="270312" y="651063"/>
                    <a:pt x="275751" y="651063"/>
                    <a:pt x="292069" y="651063"/>
                  </a:cubicBezTo>
                  <a:cubicBezTo>
                    <a:pt x="305667" y="651063"/>
                    <a:pt x="319265" y="651063"/>
                    <a:pt x="327424" y="651063"/>
                  </a:cubicBezTo>
                  <a:cubicBezTo>
                    <a:pt x="338303" y="651063"/>
                    <a:pt x="351901" y="653783"/>
                    <a:pt x="362780" y="653783"/>
                  </a:cubicBezTo>
                  <a:cubicBezTo>
                    <a:pt x="376378" y="653783"/>
                    <a:pt x="384537" y="651063"/>
                    <a:pt x="395416" y="648343"/>
                  </a:cubicBezTo>
                  <a:cubicBezTo>
                    <a:pt x="395416" y="637465"/>
                    <a:pt x="395416" y="629306"/>
                    <a:pt x="395416" y="618427"/>
                  </a:cubicBezTo>
                  <a:cubicBezTo>
                    <a:pt x="395416" y="610268"/>
                    <a:pt x="395416" y="602109"/>
                    <a:pt x="395416" y="596670"/>
                  </a:cubicBezTo>
                  <a:cubicBezTo>
                    <a:pt x="395416" y="591231"/>
                    <a:pt x="395416" y="585791"/>
                    <a:pt x="398136" y="574913"/>
                  </a:cubicBezTo>
                  <a:cubicBezTo>
                    <a:pt x="400855" y="569473"/>
                    <a:pt x="400855" y="564034"/>
                    <a:pt x="406295" y="558595"/>
                  </a:cubicBezTo>
                  <a:cubicBezTo>
                    <a:pt x="411734" y="553155"/>
                    <a:pt x="414453" y="553155"/>
                    <a:pt x="422612" y="553155"/>
                  </a:cubicBezTo>
                  <a:cubicBezTo>
                    <a:pt x="436211" y="553155"/>
                    <a:pt x="438930" y="577632"/>
                    <a:pt x="438930" y="588511"/>
                  </a:cubicBezTo>
                  <a:cubicBezTo>
                    <a:pt x="438930" y="612988"/>
                    <a:pt x="438930" y="623866"/>
                    <a:pt x="436211" y="645624"/>
                  </a:cubicBezTo>
                  <a:cubicBezTo>
                    <a:pt x="433491" y="648343"/>
                    <a:pt x="433491" y="648343"/>
                    <a:pt x="433491" y="651063"/>
                  </a:cubicBezTo>
                  <a:lnTo>
                    <a:pt x="433491" y="651063"/>
                  </a:lnTo>
                  <a:close/>
                </a:path>
              </a:pathLst>
            </a:custGeom>
            <a:grpFill/>
            <a:ln w="27168"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F53E3CE4-8D3E-469D-B005-9D424EB6C25C}"/>
                </a:ext>
              </a:extLst>
            </p:cNvPr>
            <p:cNvSpPr/>
            <p:nvPr/>
          </p:nvSpPr>
          <p:spPr>
            <a:xfrm>
              <a:off x="7912732" y="4250336"/>
              <a:ext cx="465062" cy="658157"/>
            </a:xfrm>
            <a:custGeom>
              <a:avLst/>
              <a:gdLst>
                <a:gd name="connsiteX0" fmla="*/ 193096 w 465062"/>
                <a:gd name="connsiteY0" fmla="*/ 59832 h 658157"/>
                <a:gd name="connsiteX1" fmla="*/ 193096 w 465062"/>
                <a:gd name="connsiteY1" fmla="*/ 114226 h 658157"/>
                <a:gd name="connsiteX2" fmla="*/ 198536 w 465062"/>
                <a:gd name="connsiteY2" fmla="*/ 209414 h 658157"/>
                <a:gd name="connsiteX3" fmla="*/ 201255 w 465062"/>
                <a:gd name="connsiteY3" fmla="*/ 282845 h 658157"/>
                <a:gd name="connsiteX4" fmla="*/ 203975 w 465062"/>
                <a:gd name="connsiteY4" fmla="*/ 315481 h 658157"/>
                <a:gd name="connsiteX5" fmla="*/ 203975 w 465062"/>
                <a:gd name="connsiteY5" fmla="*/ 320920 h 658157"/>
                <a:gd name="connsiteX6" fmla="*/ 212134 w 465062"/>
                <a:gd name="connsiteY6" fmla="*/ 329079 h 658157"/>
                <a:gd name="connsiteX7" fmla="*/ 223013 w 465062"/>
                <a:gd name="connsiteY7" fmla="*/ 329079 h 658157"/>
                <a:gd name="connsiteX8" fmla="*/ 239331 w 465062"/>
                <a:gd name="connsiteY8" fmla="*/ 329079 h 658157"/>
                <a:gd name="connsiteX9" fmla="*/ 280126 w 465062"/>
                <a:gd name="connsiteY9" fmla="*/ 312761 h 658157"/>
                <a:gd name="connsiteX10" fmla="*/ 296443 w 465062"/>
                <a:gd name="connsiteY10" fmla="*/ 288284 h 658157"/>
                <a:gd name="connsiteX11" fmla="*/ 304602 w 465062"/>
                <a:gd name="connsiteY11" fmla="*/ 258368 h 658157"/>
                <a:gd name="connsiteX12" fmla="*/ 312761 w 465062"/>
                <a:gd name="connsiteY12" fmla="*/ 225732 h 658157"/>
                <a:gd name="connsiteX13" fmla="*/ 315481 w 465062"/>
                <a:gd name="connsiteY13" fmla="*/ 195816 h 658157"/>
                <a:gd name="connsiteX14" fmla="*/ 318201 w 465062"/>
                <a:gd name="connsiteY14" fmla="*/ 168619 h 658157"/>
                <a:gd name="connsiteX15" fmla="*/ 312761 w 465062"/>
                <a:gd name="connsiteY15" fmla="*/ 135983 h 658157"/>
                <a:gd name="connsiteX16" fmla="*/ 312761 w 465062"/>
                <a:gd name="connsiteY16" fmla="*/ 122385 h 658157"/>
                <a:gd name="connsiteX17" fmla="*/ 293724 w 465062"/>
                <a:gd name="connsiteY17" fmla="*/ 84309 h 658157"/>
                <a:gd name="connsiteX18" fmla="*/ 280126 w 465062"/>
                <a:gd name="connsiteY18" fmla="*/ 73430 h 658157"/>
                <a:gd name="connsiteX19" fmla="*/ 258368 w 465062"/>
                <a:gd name="connsiteY19" fmla="*/ 62552 h 658157"/>
                <a:gd name="connsiteX20" fmla="*/ 217573 w 465062"/>
                <a:gd name="connsiteY20" fmla="*/ 59832 h 658157"/>
                <a:gd name="connsiteX21" fmla="*/ 111506 w 465062"/>
                <a:gd name="connsiteY21" fmla="*/ 0 h 658157"/>
                <a:gd name="connsiteX22" fmla="*/ 127824 w 465062"/>
                <a:gd name="connsiteY22" fmla="*/ 0 h 658157"/>
                <a:gd name="connsiteX23" fmla="*/ 157741 w 465062"/>
                <a:gd name="connsiteY23" fmla="*/ 5440 h 658157"/>
                <a:gd name="connsiteX24" fmla="*/ 179497 w 465062"/>
                <a:gd name="connsiteY24" fmla="*/ 16318 h 658157"/>
                <a:gd name="connsiteX25" fmla="*/ 209414 w 465062"/>
                <a:gd name="connsiteY25" fmla="*/ 16318 h 658157"/>
                <a:gd name="connsiteX26" fmla="*/ 247489 w 465062"/>
                <a:gd name="connsiteY26" fmla="*/ 16318 h 658157"/>
                <a:gd name="connsiteX27" fmla="*/ 266527 w 465062"/>
                <a:gd name="connsiteY27" fmla="*/ 16318 h 658157"/>
                <a:gd name="connsiteX28" fmla="*/ 312761 w 465062"/>
                <a:gd name="connsiteY28" fmla="*/ 27197 h 658157"/>
                <a:gd name="connsiteX29" fmla="*/ 337238 w 465062"/>
                <a:gd name="connsiteY29" fmla="*/ 38075 h 658157"/>
                <a:gd name="connsiteX30" fmla="*/ 364434 w 465062"/>
                <a:gd name="connsiteY30" fmla="*/ 54393 h 658157"/>
                <a:gd name="connsiteX31" fmla="*/ 386192 w 465062"/>
                <a:gd name="connsiteY31" fmla="*/ 73431 h 658157"/>
                <a:gd name="connsiteX32" fmla="*/ 407949 w 465062"/>
                <a:gd name="connsiteY32" fmla="*/ 103347 h 658157"/>
                <a:gd name="connsiteX33" fmla="*/ 416108 w 465062"/>
                <a:gd name="connsiteY33" fmla="*/ 141422 h 658157"/>
                <a:gd name="connsiteX34" fmla="*/ 418828 w 465062"/>
                <a:gd name="connsiteY34" fmla="*/ 163179 h 658157"/>
                <a:gd name="connsiteX35" fmla="*/ 418828 w 465062"/>
                <a:gd name="connsiteY35" fmla="*/ 171339 h 658157"/>
                <a:gd name="connsiteX36" fmla="*/ 421547 w 465062"/>
                <a:gd name="connsiteY36" fmla="*/ 187656 h 658157"/>
                <a:gd name="connsiteX37" fmla="*/ 418828 w 465062"/>
                <a:gd name="connsiteY37" fmla="*/ 206694 h 658157"/>
                <a:gd name="connsiteX38" fmla="*/ 416108 w 465062"/>
                <a:gd name="connsiteY38" fmla="*/ 233891 h 658157"/>
                <a:gd name="connsiteX39" fmla="*/ 405229 w 465062"/>
                <a:gd name="connsiteY39" fmla="*/ 263807 h 658157"/>
                <a:gd name="connsiteX40" fmla="*/ 394351 w 465062"/>
                <a:gd name="connsiteY40" fmla="*/ 274686 h 658157"/>
                <a:gd name="connsiteX41" fmla="*/ 388912 w 465062"/>
                <a:gd name="connsiteY41" fmla="*/ 285564 h 658157"/>
                <a:gd name="connsiteX42" fmla="*/ 369874 w 465062"/>
                <a:gd name="connsiteY42" fmla="*/ 304602 h 658157"/>
                <a:gd name="connsiteX43" fmla="*/ 358995 w 465062"/>
                <a:gd name="connsiteY43" fmla="*/ 310041 h 658157"/>
                <a:gd name="connsiteX44" fmla="*/ 348117 w 465062"/>
                <a:gd name="connsiteY44" fmla="*/ 320920 h 658157"/>
                <a:gd name="connsiteX45" fmla="*/ 326359 w 465062"/>
                <a:gd name="connsiteY45" fmla="*/ 339957 h 658157"/>
                <a:gd name="connsiteX46" fmla="*/ 312761 w 465062"/>
                <a:gd name="connsiteY46" fmla="*/ 353555 h 658157"/>
                <a:gd name="connsiteX47" fmla="*/ 337238 w 465062"/>
                <a:gd name="connsiteY47" fmla="*/ 380752 h 658157"/>
                <a:gd name="connsiteX48" fmla="*/ 358995 w 465062"/>
                <a:gd name="connsiteY48" fmla="*/ 421547 h 658157"/>
                <a:gd name="connsiteX49" fmla="*/ 372593 w 465062"/>
                <a:gd name="connsiteY49" fmla="*/ 459622 h 658157"/>
                <a:gd name="connsiteX50" fmla="*/ 386192 w 465062"/>
                <a:gd name="connsiteY50" fmla="*/ 514015 h 658157"/>
                <a:gd name="connsiteX51" fmla="*/ 407949 w 465062"/>
                <a:gd name="connsiteY51" fmla="*/ 568408 h 658157"/>
                <a:gd name="connsiteX52" fmla="*/ 421547 w 465062"/>
                <a:gd name="connsiteY52" fmla="*/ 598324 h 658157"/>
                <a:gd name="connsiteX53" fmla="*/ 451463 w 465062"/>
                <a:gd name="connsiteY53" fmla="*/ 628241 h 658157"/>
                <a:gd name="connsiteX54" fmla="*/ 465062 w 465062"/>
                <a:gd name="connsiteY54" fmla="*/ 644559 h 658157"/>
                <a:gd name="connsiteX55" fmla="*/ 462342 w 465062"/>
                <a:gd name="connsiteY55" fmla="*/ 649998 h 658157"/>
                <a:gd name="connsiteX56" fmla="*/ 437865 w 465062"/>
                <a:gd name="connsiteY56" fmla="*/ 658157 h 658157"/>
                <a:gd name="connsiteX57" fmla="*/ 361715 w 465062"/>
                <a:gd name="connsiteY57" fmla="*/ 622801 h 658157"/>
                <a:gd name="connsiteX58" fmla="*/ 320920 w 465062"/>
                <a:gd name="connsiteY58" fmla="*/ 565689 h 658157"/>
                <a:gd name="connsiteX59" fmla="*/ 304602 w 465062"/>
                <a:gd name="connsiteY59" fmla="*/ 530333 h 658157"/>
                <a:gd name="connsiteX60" fmla="*/ 293723 w 465062"/>
                <a:gd name="connsiteY60" fmla="*/ 497697 h 658157"/>
                <a:gd name="connsiteX61" fmla="*/ 282845 w 465062"/>
                <a:gd name="connsiteY61" fmla="*/ 462342 h 658157"/>
                <a:gd name="connsiteX62" fmla="*/ 269246 w 465062"/>
                <a:gd name="connsiteY62" fmla="*/ 424267 h 658157"/>
                <a:gd name="connsiteX63" fmla="*/ 255648 w 465062"/>
                <a:gd name="connsiteY63" fmla="*/ 391631 h 658157"/>
                <a:gd name="connsiteX64" fmla="*/ 236610 w 465062"/>
                <a:gd name="connsiteY64" fmla="*/ 367154 h 658157"/>
                <a:gd name="connsiteX65" fmla="*/ 217573 w 465062"/>
                <a:gd name="connsiteY65" fmla="*/ 361714 h 658157"/>
                <a:gd name="connsiteX66" fmla="*/ 201255 w 465062"/>
                <a:gd name="connsiteY66" fmla="*/ 361714 h 658157"/>
                <a:gd name="connsiteX67" fmla="*/ 198535 w 465062"/>
                <a:gd name="connsiteY67" fmla="*/ 367154 h 658157"/>
                <a:gd name="connsiteX68" fmla="*/ 201255 w 465062"/>
                <a:gd name="connsiteY68" fmla="*/ 388911 h 658157"/>
                <a:gd name="connsiteX69" fmla="*/ 198535 w 465062"/>
                <a:gd name="connsiteY69" fmla="*/ 426986 h 658157"/>
                <a:gd name="connsiteX70" fmla="*/ 203975 w 465062"/>
                <a:gd name="connsiteY70" fmla="*/ 478660 h 658157"/>
                <a:gd name="connsiteX71" fmla="*/ 198535 w 465062"/>
                <a:gd name="connsiteY71" fmla="*/ 552090 h 658157"/>
                <a:gd name="connsiteX72" fmla="*/ 195816 w 465062"/>
                <a:gd name="connsiteY72" fmla="*/ 576567 h 658157"/>
                <a:gd name="connsiteX73" fmla="*/ 198535 w 465062"/>
                <a:gd name="connsiteY73" fmla="*/ 592885 h 658157"/>
                <a:gd name="connsiteX74" fmla="*/ 233891 w 465062"/>
                <a:gd name="connsiteY74" fmla="*/ 592885 h 658157"/>
                <a:gd name="connsiteX75" fmla="*/ 271966 w 465062"/>
                <a:gd name="connsiteY75" fmla="*/ 611923 h 658157"/>
                <a:gd name="connsiteX76" fmla="*/ 266527 w 465062"/>
                <a:gd name="connsiteY76" fmla="*/ 628241 h 658157"/>
                <a:gd name="connsiteX77" fmla="*/ 250209 w 465062"/>
                <a:gd name="connsiteY77" fmla="*/ 636400 h 658157"/>
                <a:gd name="connsiteX78" fmla="*/ 228451 w 465062"/>
                <a:gd name="connsiteY78" fmla="*/ 639119 h 658157"/>
                <a:gd name="connsiteX79" fmla="*/ 187657 w 465062"/>
                <a:gd name="connsiteY79" fmla="*/ 639119 h 658157"/>
                <a:gd name="connsiteX80" fmla="*/ 152301 w 465062"/>
                <a:gd name="connsiteY80" fmla="*/ 652717 h 658157"/>
                <a:gd name="connsiteX81" fmla="*/ 133263 w 465062"/>
                <a:gd name="connsiteY81" fmla="*/ 655437 h 658157"/>
                <a:gd name="connsiteX82" fmla="*/ 122385 w 465062"/>
                <a:gd name="connsiteY82" fmla="*/ 652717 h 658157"/>
                <a:gd name="connsiteX83" fmla="*/ 97908 w 465062"/>
                <a:gd name="connsiteY83" fmla="*/ 639119 h 658157"/>
                <a:gd name="connsiteX84" fmla="*/ 70711 w 465062"/>
                <a:gd name="connsiteY84" fmla="*/ 639119 h 658157"/>
                <a:gd name="connsiteX85" fmla="*/ 46234 w 465062"/>
                <a:gd name="connsiteY85" fmla="*/ 639119 h 658157"/>
                <a:gd name="connsiteX86" fmla="*/ 19038 w 465062"/>
                <a:gd name="connsiteY86" fmla="*/ 630960 h 658157"/>
                <a:gd name="connsiteX87" fmla="*/ 2720 w 465062"/>
                <a:gd name="connsiteY87" fmla="*/ 614642 h 658157"/>
                <a:gd name="connsiteX88" fmla="*/ 8159 w 465062"/>
                <a:gd name="connsiteY88" fmla="*/ 606483 h 658157"/>
                <a:gd name="connsiteX89" fmla="*/ 29916 w 465062"/>
                <a:gd name="connsiteY89" fmla="*/ 598324 h 658157"/>
                <a:gd name="connsiteX90" fmla="*/ 76151 w 465062"/>
                <a:gd name="connsiteY90" fmla="*/ 592885 h 658157"/>
                <a:gd name="connsiteX91" fmla="*/ 73431 w 465062"/>
                <a:gd name="connsiteY91" fmla="*/ 573848 h 658157"/>
                <a:gd name="connsiteX92" fmla="*/ 70711 w 465062"/>
                <a:gd name="connsiteY92" fmla="*/ 500417 h 658157"/>
                <a:gd name="connsiteX93" fmla="*/ 73431 w 465062"/>
                <a:gd name="connsiteY93" fmla="*/ 437865 h 658157"/>
                <a:gd name="connsiteX94" fmla="*/ 70711 w 465062"/>
                <a:gd name="connsiteY94" fmla="*/ 369873 h 658157"/>
                <a:gd name="connsiteX95" fmla="*/ 70711 w 465062"/>
                <a:gd name="connsiteY95" fmla="*/ 293723 h 658157"/>
                <a:gd name="connsiteX96" fmla="*/ 73431 w 465062"/>
                <a:gd name="connsiteY96" fmla="*/ 212133 h 658157"/>
                <a:gd name="connsiteX97" fmla="*/ 76151 w 465062"/>
                <a:gd name="connsiteY97" fmla="*/ 155021 h 658157"/>
                <a:gd name="connsiteX98" fmla="*/ 76151 w 465062"/>
                <a:gd name="connsiteY98" fmla="*/ 119665 h 658157"/>
                <a:gd name="connsiteX99" fmla="*/ 78870 w 465062"/>
                <a:gd name="connsiteY99" fmla="*/ 84310 h 658157"/>
                <a:gd name="connsiteX100" fmla="*/ 76151 w 465062"/>
                <a:gd name="connsiteY100" fmla="*/ 62552 h 658157"/>
                <a:gd name="connsiteX101" fmla="*/ 67992 w 465062"/>
                <a:gd name="connsiteY101" fmla="*/ 62552 h 658157"/>
                <a:gd name="connsiteX102" fmla="*/ 43515 w 465062"/>
                <a:gd name="connsiteY102" fmla="*/ 62552 h 658157"/>
                <a:gd name="connsiteX103" fmla="*/ 16318 w 465062"/>
                <a:gd name="connsiteY103" fmla="*/ 57113 h 658157"/>
                <a:gd name="connsiteX104" fmla="*/ 0 w 465062"/>
                <a:gd name="connsiteY104" fmla="*/ 40795 h 658157"/>
                <a:gd name="connsiteX105" fmla="*/ 5439 w 465062"/>
                <a:gd name="connsiteY105" fmla="*/ 32636 h 658157"/>
                <a:gd name="connsiteX106" fmla="*/ 27197 w 465062"/>
                <a:gd name="connsiteY106" fmla="*/ 24477 h 658157"/>
                <a:gd name="connsiteX107" fmla="*/ 76151 w 465062"/>
                <a:gd name="connsiteY107" fmla="*/ 19038 h 658157"/>
                <a:gd name="connsiteX108" fmla="*/ 78870 w 465062"/>
                <a:gd name="connsiteY108" fmla="*/ 13598 h 658157"/>
                <a:gd name="connsiteX109" fmla="*/ 95188 w 465062"/>
                <a:gd name="connsiteY109" fmla="*/ 5440 h 658157"/>
                <a:gd name="connsiteX110" fmla="*/ 111506 w 465062"/>
                <a:gd name="connsiteY110" fmla="*/ 0 h 658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465062" h="658157">
                  <a:moveTo>
                    <a:pt x="193096" y="59832"/>
                  </a:moveTo>
                  <a:cubicBezTo>
                    <a:pt x="193096" y="73430"/>
                    <a:pt x="193096" y="89748"/>
                    <a:pt x="193096" y="114226"/>
                  </a:cubicBezTo>
                  <a:cubicBezTo>
                    <a:pt x="193096" y="144142"/>
                    <a:pt x="195816" y="176778"/>
                    <a:pt x="198536" y="209414"/>
                  </a:cubicBezTo>
                  <a:cubicBezTo>
                    <a:pt x="198536" y="247489"/>
                    <a:pt x="201255" y="277406"/>
                    <a:pt x="201255" y="282845"/>
                  </a:cubicBezTo>
                  <a:cubicBezTo>
                    <a:pt x="201255" y="293723"/>
                    <a:pt x="203975" y="304602"/>
                    <a:pt x="203975" y="315481"/>
                  </a:cubicBezTo>
                  <a:cubicBezTo>
                    <a:pt x="203975" y="318200"/>
                    <a:pt x="203975" y="318200"/>
                    <a:pt x="203975" y="320920"/>
                  </a:cubicBezTo>
                  <a:cubicBezTo>
                    <a:pt x="203975" y="326359"/>
                    <a:pt x="206695" y="329079"/>
                    <a:pt x="212134" y="329079"/>
                  </a:cubicBezTo>
                  <a:cubicBezTo>
                    <a:pt x="214854" y="329079"/>
                    <a:pt x="220293" y="329079"/>
                    <a:pt x="223013" y="329079"/>
                  </a:cubicBezTo>
                  <a:cubicBezTo>
                    <a:pt x="228452" y="329079"/>
                    <a:pt x="233891" y="329079"/>
                    <a:pt x="239331" y="329079"/>
                  </a:cubicBezTo>
                  <a:cubicBezTo>
                    <a:pt x="252929" y="329079"/>
                    <a:pt x="271967" y="323640"/>
                    <a:pt x="280126" y="312761"/>
                  </a:cubicBezTo>
                  <a:cubicBezTo>
                    <a:pt x="288284" y="304602"/>
                    <a:pt x="291004" y="299163"/>
                    <a:pt x="296443" y="288284"/>
                  </a:cubicBezTo>
                  <a:cubicBezTo>
                    <a:pt x="299163" y="277406"/>
                    <a:pt x="301883" y="269247"/>
                    <a:pt x="304602" y="258368"/>
                  </a:cubicBezTo>
                  <a:cubicBezTo>
                    <a:pt x="307322" y="244770"/>
                    <a:pt x="310042" y="239330"/>
                    <a:pt x="312761" y="225732"/>
                  </a:cubicBezTo>
                  <a:cubicBezTo>
                    <a:pt x="315481" y="212134"/>
                    <a:pt x="315481" y="209414"/>
                    <a:pt x="315481" y="195816"/>
                  </a:cubicBezTo>
                  <a:cubicBezTo>
                    <a:pt x="315481" y="179498"/>
                    <a:pt x="315481" y="184937"/>
                    <a:pt x="318201" y="168619"/>
                  </a:cubicBezTo>
                  <a:cubicBezTo>
                    <a:pt x="312761" y="152302"/>
                    <a:pt x="312761" y="149582"/>
                    <a:pt x="312761" y="135983"/>
                  </a:cubicBezTo>
                  <a:cubicBezTo>
                    <a:pt x="312761" y="133264"/>
                    <a:pt x="312761" y="127825"/>
                    <a:pt x="312761" y="122385"/>
                  </a:cubicBezTo>
                  <a:cubicBezTo>
                    <a:pt x="312761" y="111507"/>
                    <a:pt x="301883" y="95188"/>
                    <a:pt x="293724" y="84309"/>
                  </a:cubicBezTo>
                  <a:cubicBezTo>
                    <a:pt x="288284" y="78870"/>
                    <a:pt x="285565" y="76150"/>
                    <a:pt x="280126" y="73430"/>
                  </a:cubicBezTo>
                  <a:cubicBezTo>
                    <a:pt x="271967" y="67991"/>
                    <a:pt x="266527" y="65271"/>
                    <a:pt x="258368" y="62552"/>
                  </a:cubicBezTo>
                  <a:cubicBezTo>
                    <a:pt x="244770" y="59832"/>
                    <a:pt x="228452" y="59832"/>
                    <a:pt x="217573" y="59832"/>
                  </a:cubicBezTo>
                  <a:close/>
                  <a:moveTo>
                    <a:pt x="111506" y="0"/>
                  </a:moveTo>
                  <a:cubicBezTo>
                    <a:pt x="114226" y="0"/>
                    <a:pt x="122385" y="0"/>
                    <a:pt x="127824" y="0"/>
                  </a:cubicBezTo>
                  <a:cubicBezTo>
                    <a:pt x="135983" y="0"/>
                    <a:pt x="146862" y="2720"/>
                    <a:pt x="157741" y="5440"/>
                  </a:cubicBezTo>
                  <a:cubicBezTo>
                    <a:pt x="168619" y="8159"/>
                    <a:pt x="176778" y="10879"/>
                    <a:pt x="179497" y="16318"/>
                  </a:cubicBezTo>
                  <a:cubicBezTo>
                    <a:pt x="193096" y="16318"/>
                    <a:pt x="201255" y="16318"/>
                    <a:pt x="209414" y="16318"/>
                  </a:cubicBezTo>
                  <a:cubicBezTo>
                    <a:pt x="220292" y="16318"/>
                    <a:pt x="231171" y="16318"/>
                    <a:pt x="247489" y="16318"/>
                  </a:cubicBezTo>
                  <a:cubicBezTo>
                    <a:pt x="250209" y="16318"/>
                    <a:pt x="258368" y="16318"/>
                    <a:pt x="266527" y="16318"/>
                  </a:cubicBezTo>
                  <a:cubicBezTo>
                    <a:pt x="277405" y="16318"/>
                    <a:pt x="291004" y="21758"/>
                    <a:pt x="312761" y="27197"/>
                  </a:cubicBezTo>
                  <a:cubicBezTo>
                    <a:pt x="320920" y="29917"/>
                    <a:pt x="329079" y="35356"/>
                    <a:pt x="337238" y="38075"/>
                  </a:cubicBezTo>
                  <a:cubicBezTo>
                    <a:pt x="342677" y="40795"/>
                    <a:pt x="353556" y="48954"/>
                    <a:pt x="364434" y="54393"/>
                  </a:cubicBezTo>
                  <a:cubicBezTo>
                    <a:pt x="375313" y="62552"/>
                    <a:pt x="386192" y="67992"/>
                    <a:pt x="386192" y="73431"/>
                  </a:cubicBezTo>
                  <a:cubicBezTo>
                    <a:pt x="391631" y="84310"/>
                    <a:pt x="402510" y="92469"/>
                    <a:pt x="407949" y="103347"/>
                  </a:cubicBezTo>
                  <a:cubicBezTo>
                    <a:pt x="413388" y="116945"/>
                    <a:pt x="416108" y="130544"/>
                    <a:pt x="416108" y="141422"/>
                  </a:cubicBezTo>
                  <a:cubicBezTo>
                    <a:pt x="416108" y="152301"/>
                    <a:pt x="418828" y="157740"/>
                    <a:pt x="418828" y="163179"/>
                  </a:cubicBezTo>
                  <a:cubicBezTo>
                    <a:pt x="418828" y="165899"/>
                    <a:pt x="418828" y="168619"/>
                    <a:pt x="418828" y="171339"/>
                  </a:cubicBezTo>
                  <a:cubicBezTo>
                    <a:pt x="418828" y="174058"/>
                    <a:pt x="421547" y="182217"/>
                    <a:pt x="421547" y="187656"/>
                  </a:cubicBezTo>
                  <a:cubicBezTo>
                    <a:pt x="421547" y="193096"/>
                    <a:pt x="418828" y="201255"/>
                    <a:pt x="418828" y="206694"/>
                  </a:cubicBezTo>
                  <a:cubicBezTo>
                    <a:pt x="418828" y="217573"/>
                    <a:pt x="418828" y="223012"/>
                    <a:pt x="416108" y="233891"/>
                  </a:cubicBezTo>
                  <a:cubicBezTo>
                    <a:pt x="413388" y="244769"/>
                    <a:pt x="410668" y="255648"/>
                    <a:pt x="405229" y="263807"/>
                  </a:cubicBezTo>
                  <a:cubicBezTo>
                    <a:pt x="402510" y="269246"/>
                    <a:pt x="397070" y="269246"/>
                    <a:pt x="394351" y="274686"/>
                  </a:cubicBezTo>
                  <a:cubicBezTo>
                    <a:pt x="391631" y="277405"/>
                    <a:pt x="391631" y="282844"/>
                    <a:pt x="388912" y="285564"/>
                  </a:cubicBezTo>
                  <a:cubicBezTo>
                    <a:pt x="383472" y="291003"/>
                    <a:pt x="375313" y="301882"/>
                    <a:pt x="369874" y="304602"/>
                  </a:cubicBezTo>
                  <a:cubicBezTo>
                    <a:pt x="367154" y="307321"/>
                    <a:pt x="361715" y="307321"/>
                    <a:pt x="358995" y="310041"/>
                  </a:cubicBezTo>
                  <a:cubicBezTo>
                    <a:pt x="356275" y="312761"/>
                    <a:pt x="350836" y="318200"/>
                    <a:pt x="348117" y="320920"/>
                  </a:cubicBezTo>
                  <a:cubicBezTo>
                    <a:pt x="339958" y="326359"/>
                    <a:pt x="334518" y="334518"/>
                    <a:pt x="326359" y="339957"/>
                  </a:cubicBezTo>
                  <a:cubicBezTo>
                    <a:pt x="320920" y="342677"/>
                    <a:pt x="312761" y="342677"/>
                    <a:pt x="312761" y="353555"/>
                  </a:cubicBezTo>
                  <a:cubicBezTo>
                    <a:pt x="312761" y="361714"/>
                    <a:pt x="334518" y="372593"/>
                    <a:pt x="337238" y="380752"/>
                  </a:cubicBezTo>
                  <a:cubicBezTo>
                    <a:pt x="345397" y="394350"/>
                    <a:pt x="353556" y="407948"/>
                    <a:pt x="358995" y="421547"/>
                  </a:cubicBezTo>
                  <a:cubicBezTo>
                    <a:pt x="364434" y="435145"/>
                    <a:pt x="367154" y="446024"/>
                    <a:pt x="372593" y="459622"/>
                  </a:cubicBezTo>
                  <a:cubicBezTo>
                    <a:pt x="378033" y="478660"/>
                    <a:pt x="383472" y="494978"/>
                    <a:pt x="386192" y="514015"/>
                  </a:cubicBezTo>
                  <a:cubicBezTo>
                    <a:pt x="391631" y="533053"/>
                    <a:pt x="402510" y="549371"/>
                    <a:pt x="407949" y="568408"/>
                  </a:cubicBezTo>
                  <a:cubicBezTo>
                    <a:pt x="410668" y="579287"/>
                    <a:pt x="416108" y="590165"/>
                    <a:pt x="421547" y="598324"/>
                  </a:cubicBezTo>
                  <a:cubicBezTo>
                    <a:pt x="435146" y="614642"/>
                    <a:pt x="443305" y="622801"/>
                    <a:pt x="451463" y="628241"/>
                  </a:cubicBezTo>
                  <a:cubicBezTo>
                    <a:pt x="456903" y="630960"/>
                    <a:pt x="465062" y="636400"/>
                    <a:pt x="465062" y="644559"/>
                  </a:cubicBezTo>
                  <a:cubicBezTo>
                    <a:pt x="465062" y="647278"/>
                    <a:pt x="465062" y="647278"/>
                    <a:pt x="462342" y="649998"/>
                  </a:cubicBezTo>
                  <a:cubicBezTo>
                    <a:pt x="456903" y="655437"/>
                    <a:pt x="446024" y="658157"/>
                    <a:pt x="437865" y="658157"/>
                  </a:cubicBezTo>
                  <a:cubicBezTo>
                    <a:pt x="413388" y="658157"/>
                    <a:pt x="378033" y="641839"/>
                    <a:pt x="361715" y="622801"/>
                  </a:cubicBezTo>
                  <a:cubicBezTo>
                    <a:pt x="345397" y="606483"/>
                    <a:pt x="334518" y="584726"/>
                    <a:pt x="320920" y="565689"/>
                  </a:cubicBezTo>
                  <a:cubicBezTo>
                    <a:pt x="315480" y="554810"/>
                    <a:pt x="310041" y="543931"/>
                    <a:pt x="304602" y="530333"/>
                  </a:cubicBezTo>
                  <a:cubicBezTo>
                    <a:pt x="299163" y="519454"/>
                    <a:pt x="296443" y="508576"/>
                    <a:pt x="293723" y="497697"/>
                  </a:cubicBezTo>
                  <a:cubicBezTo>
                    <a:pt x="291004" y="486819"/>
                    <a:pt x="288284" y="473220"/>
                    <a:pt x="282845" y="462342"/>
                  </a:cubicBezTo>
                  <a:cubicBezTo>
                    <a:pt x="280125" y="448743"/>
                    <a:pt x="274686" y="437865"/>
                    <a:pt x="269246" y="424267"/>
                  </a:cubicBezTo>
                  <a:cubicBezTo>
                    <a:pt x="266527" y="416108"/>
                    <a:pt x="261087" y="402509"/>
                    <a:pt x="255648" y="391631"/>
                  </a:cubicBezTo>
                  <a:cubicBezTo>
                    <a:pt x="250209" y="380752"/>
                    <a:pt x="244770" y="375313"/>
                    <a:pt x="236610" y="367154"/>
                  </a:cubicBezTo>
                  <a:cubicBezTo>
                    <a:pt x="231171" y="361714"/>
                    <a:pt x="223012" y="361714"/>
                    <a:pt x="217573" y="361714"/>
                  </a:cubicBezTo>
                  <a:cubicBezTo>
                    <a:pt x="212134" y="361714"/>
                    <a:pt x="206694" y="361714"/>
                    <a:pt x="201255" y="361714"/>
                  </a:cubicBezTo>
                  <a:cubicBezTo>
                    <a:pt x="198535" y="361714"/>
                    <a:pt x="198535" y="364434"/>
                    <a:pt x="198535" y="367154"/>
                  </a:cubicBezTo>
                  <a:cubicBezTo>
                    <a:pt x="198535" y="375313"/>
                    <a:pt x="201255" y="386191"/>
                    <a:pt x="201255" y="388911"/>
                  </a:cubicBezTo>
                  <a:cubicBezTo>
                    <a:pt x="201255" y="402509"/>
                    <a:pt x="198535" y="413388"/>
                    <a:pt x="198535" y="426986"/>
                  </a:cubicBezTo>
                  <a:cubicBezTo>
                    <a:pt x="198535" y="446024"/>
                    <a:pt x="203975" y="456902"/>
                    <a:pt x="203975" y="478660"/>
                  </a:cubicBezTo>
                  <a:cubicBezTo>
                    <a:pt x="203975" y="503136"/>
                    <a:pt x="201255" y="527613"/>
                    <a:pt x="198535" y="552090"/>
                  </a:cubicBezTo>
                  <a:cubicBezTo>
                    <a:pt x="198535" y="560249"/>
                    <a:pt x="195816" y="568408"/>
                    <a:pt x="195816" y="576567"/>
                  </a:cubicBezTo>
                  <a:cubicBezTo>
                    <a:pt x="195816" y="582006"/>
                    <a:pt x="195816" y="587446"/>
                    <a:pt x="198535" y="592885"/>
                  </a:cubicBezTo>
                  <a:cubicBezTo>
                    <a:pt x="212134" y="592885"/>
                    <a:pt x="225732" y="592885"/>
                    <a:pt x="233891" y="592885"/>
                  </a:cubicBezTo>
                  <a:cubicBezTo>
                    <a:pt x="247489" y="592885"/>
                    <a:pt x="271966" y="592885"/>
                    <a:pt x="271966" y="611923"/>
                  </a:cubicBezTo>
                  <a:cubicBezTo>
                    <a:pt x="271966" y="620082"/>
                    <a:pt x="269246" y="622801"/>
                    <a:pt x="266527" y="628241"/>
                  </a:cubicBezTo>
                  <a:cubicBezTo>
                    <a:pt x="261087" y="633680"/>
                    <a:pt x="255648" y="636400"/>
                    <a:pt x="250209" y="636400"/>
                  </a:cubicBezTo>
                  <a:cubicBezTo>
                    <a:pt x="239330" y="639119"/>
                    <a:pt x="233891" y="639119"/>
                    <a:pt x="228451" y="639119"/>
                  </a:cubicBezTo>
                  <a:cubicBezTo>
                    <a:pt x="223012" y="639119"/>
                    <a:pt x="206694" y="639119"/>
                    <a:pt x="187657" y="639119"/>
                  </a:cubicBezTo>
                  <a:cubicBezTo>
                    <a:pt x="176778" y="647278"/>
                    <a:pt x="163180" y="649998"/>
                    <a:pt x="152301" y="652717"/>
                  </a:cubicBezTo>
                  <a:cubicBezTo>
                    <a:pt x="146862" y="652717"/>
                    <a:pt x="138703" y="655437"/>
                    <a:pt x="133263" y="655437"/>
                  </a:cubicBezTo>
                  <a:cubicBezTo>
                    <a:pt x="130544" y="655437"/>
                    <a:pt x="125104" y="655437"/>
                    <a:pt x="122385" y="652717"/>
                  </a:cubicBezTo>
                  <a:cubicBezTo>
                    <a:pt x="114226" y="649998"/>
                    <a:pt x="103347" y="644559"/>
                    <a:pt x="97908" y="639119"/>
                  </a:cubicBezTo>
                  <a:cubicBezTo>
                    <a:pt x="87029" y="639119"/>
                    <a:pt x="78870" y="639119"/>
                    <a:pt x="70711" y="639119"/>
                  </a:cubicBezTo>
                  <a:cubicBezTo>
                    <a:pt x="62552" y="639119"/>
                    <a:pt x="54393" y="639119"/>
                    <a:pt x="46234" y="639119"/>
                  </a:cubicBezTo>
                  <a:cubicBezTo>
                    <a:pt x="38075" y="639119"/>
                    <a:pt x="27197" y="633680"/>
                    <a:pt x="19038" y="630960"/>
                  </a:cubicBezTo>
                  <a:cubicBezTo>
                    <a:pt x="10879" y="628241"/>
                    <a:pt x="2720" y="620082"/>
                    <a:pt x="2720" y="614642"/>
                  </a:cubicBezTo>
                  <a:cubicBezTo>
                    <a:pt x="2720" y="611923"/>
                    <a:pt x="2720" y="609203"/>
                    <a:pt x="8159" y="606483"/>
                  </a:cubicBezTo>
                  <a:cubicBezTo>
                    <a:pt x="13599" y="603764"/>
                    <a:pt x="24477" y="601044"/>
                    <a:pt x="29916" y="598324"/>
                  </a:cubicBezTo>
                  <a:cubicBezTo>
                    <a:pt x="43515" y="595605"/>
                    <a:pt x="62552" y="595605"/>
                    <a:pt x="76151" y="592885"/>
                  </a:cubicBezTo>
                  <a:cubicBezTo>
                    <a:pt x="76151" y="587446"/>
                    <a:pt x="73431" y="582006"/>
                    <a:pt x="73431" y="573848"/>
                  </a:cubicBezTo>
                  <a:cubicBezTo>
                    <a:pt x="73431" y="565689"/>
                    <a:pt x="70711" y="516735"/>
                    <a:pt x="70711" y="500417"/>
                  </a:cubicBezTo>
                  <a:cubicBezTo>
                    <a:pt x="70711" y="481379"/>
                    <a:pt x="73431" y="456902"/>
                    <a:pt x="73431" y="437865"/>
                  </a:cubicBezTo>
                  <a:cubicBezTo>
                    <a:pt x="73431" y="416108"/>
                    <a:pt x="70711" y="391631"/>
                    <a:pt x="70711" y="369873"/>
                  </a:cubicBezTo>
                  <a:cubicBezTo>
                    <a:pt x="70711" y="345397"/>
                    <a:pt x="70711" y="318200"/>
                    <a:pt x="70711" y="293723"/>
                  </a:cubicBezTo>
                  <a:cubicBezTo>
                    <a:pt x="70711" y="266526"/>
                    <a:pt x="73431" y="239330"/>
                    <a:pt x="73431" y="212133"/>
                  </a:cubicBezTo>
                  <a:cubicBezTo>
                    <a:pt x="73431" y="187656"/>
                    <a:pt x="76151" y="179498"/>
                    <a:pt x="76151" y="155021"/>
                  </a:cubicBezTo>
                  <a:cubicBezTo>
                    <a:pt x="76151" y="144142"/>
                    <a:pt x="76151" y="130544"/>
                    <a:pt x="76151" y="119665"/>
                  </a:cubicBezTo>
                  <a:cubicBezTo>
                    <a:pt x="76151" y="106067"/>
                    <a:pt x="78870" y="95188"/>
                    <a:pt x="78870" y="84310"/>
                  </a:cubicBezTo>
                  <a:cubicBezTo>
                    <a:pt x="78870" y="78870"/>
                    <a:pt x="78870" y="70711"/>
                    <a:pt x="76151" y="62552"/>
                  </a:cubicBezTo>
                  <a:cubicBezTo>
                    <a:pt x="76151" y="62552"/>
                    <a:pt x="73431" y="62552"/>
                    <a:pt x="67992" y="62552"/>
                  </a:cubicBezTo>
                  <a:cubicBezTo>
                    <a:pt x="59833" y="62552"/>
                    <a:pt x="51674" y="62552"/>
                    <a:pt x="43515" y="62552"/>
                  </a:cubicBezTo>
                  <a:cubicBezTo>
                    <a:pt x="35356" y="62552"/>
                    <a:pt x="24477" y="59833"/>
                    <a:pt x="16318" y="57113"/>
                  </a:cubicBezTo>
                  <a:cubicBezTo>
                    <a:pt x="8159" y="54393"/>
                    <a:pt x="0" y="43515"/>
                    <a:pt x="0" y="40795"/>
                  </a:cubicBezTo>
                  <a:cubicBezTo>
                    <a:pt x="0" y="38075"/>
                    <a:pt x="0" y="35356"/>
                    <a:pt x="5439" y="32636"/>
                  </a:cubicBezTo>
                  <a:cubicBezTo>
                    <a:pt x="10879" y="29917"/>
                    <a:pt x="21758" y="27197"/>
                    <a:pt x="27197" y="24477"/>
                  </a:cubicBezTo>
                  <a:cubicBezTo>
                    <a:pt x="46234" y="21758"/>
                    <a:pt x="62552" y="19038"/>
                    <a:pt x="76151" y="19038"/>
                  </a:cubicBezTo>
                  <a:cubicBezTo>
                    <a:pt x="76151" y="16318"/>
                    <a:pt x="78870" y="16318"/>
                    <a:pt x="78870" y="13598"/>
                  </a:cubicBezTo>
                  <a:cubicBezTo>
                    <a:pt x="84309" y="10879"/>
                    <a:pt x="89749" y="8159"/>
                    <a:pt x="95188" y="5440"/>
                  </a:cubicBezTo>
                  <a:cubicBezTo>
                    <a:pt x="100628" y="2720"/>
                    <a:pt x="106067" y="0"/>
                    <a:pt x="111506" y="0"/>
                  </a:cubicBezTo>
                  <a:close/>
                </a:path>
              </a:pathLst>
            </a:custGeom>
            <a:grpFill/>
            <a:ln w="27168"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ECAE099C-89D9-4588-B020-4C13AF645587}"/>
                </a:ext>
              </a:extLst>
            </p:cNvPr>
            <p:cNvSpPr/>
            <p:nvPr/>
          </p:nvSpPr>
          <p:spPr>
            <a:xfrm>
              <a:off x="8346812" y="4186718"/>
              <a:ext cx="353556" cy="761503"/>
            </a:xfrm>
            <a:custGeom>
              <a:avLst/>
              <a:gdLst>
                <a:gd name="connsiteX0" fmla="*/ 283910 w 353555"/>
                <a:gd name="connsiteY0" fmla="*/ 672820 h 761503"/>
                <a:gd name="connsiteX1" fmla="*/ 321985 w 353555"/>
                <a:gd name="connsiteY1" fmla="*/ 689138 h 761503"/>
                <a:gd name="connsiteX2" fmla="*/ 316546 w 353555"/>
                <a:gd name="connsiteY2" fmla="*/ 705456 h 761503"/>
                <a:gd name="connsiteX3" fmla="*/ 300228 w 353555"/>
                <a:gd name="connsiteY3" fmla="*/ 713615 h 761503"/>
                <a:gd name="connsiteX4" fmla="*/ 278471 w 353555"/>
                <a:gd name="connsiteY4" fmla="*/ 716335 h 761503"/>
                <a:gd name="connsiteX5" fmla="*/ 237676 w 353555"/>
                <a:gd name="connsiteY5" fmla="*/ 716335 h 761503"/>
                <a:gd name="connsiteX6" fmla="*/ 180563 w 353555"/>
                <a:gd name="connsiteY6" fmla="*/ 719054 h 761503"/>
                <a:gd name="connsiteX7" fmla="*/ 126170 w 353555"/>
                <a:gd name="connsiteY7" fmla="*/ 719054 h 761503"/>
                <a:gd name="connsiteX8" fmla="*/ 101693 w 353555"/>
                <a:gd name="connsiteY8" fmla="*/ 719054 h 761503"/>
                <a:gd name="connsiteX9" fmla="*/ 74496 w 353555"/>
                <a:gd name="connsiteY9" fmla="*/ 713615 h 761503"/>
                <a:gd name="connsiteX10" fmla="*/ 58178 w 353555"/>
                <a:gd name="connsiteY10" fmla="*/ 697297 h 761503"/>
                <a:gd name="connsiteX11" fmla="*/ 63618 w 353555"/>
                <a:gd name="connsiteY11" fmla="*/ 689138 h 761503"/>
                <a:gd name="connsiteX12" fmla="*/ 85375 w 353555"/>
                <a:gd name="connsiteY12" fmla="*/ 680979 h 761503"/>
                <a:gd name="connsiteX13" fmla="*/ 131609 w 353555"/>
                <a:gd name="connsiteY13" fmla="*/ 675540 h 761503"/>
                <a:gd name="connsiteX14" fmla="*/ 142488 w 353555"/>
                <a:gd name="connsiteY14" fmla="*/ 675540 h 761503"/>
                <a:gd name="connsiteX15" fmla="*/ 131609 w 353555"/>
                <a:gd name="connsiteY15" fmla="*/ 653783 h 761503"/>
                <a:gd name="connsiteX16" fmla="*/ 128890 w 353555"/>
                <a:gd name="connsiteY16" fmla="*/ 640184 h 761503"/>
                <a:gd name="connsiteX17" fmla="*/ 128890 w 353555"/>
                <a:gd name="connsiteY17" fmla="*/ 629306 h 761503"/>
                <a:gd name="connsiteX18" fmla="*/ 128890 w 353555"/>
                <a:gd name="connsiteY18" fmla="*/ 621147 h 761503"/>
                <a:gd name="connsiteX19" fmla="*/ 128890 w 353555"/>
                <a:gd name="connsiteY19" fmla="*/ 593950 h 761503"/>
                <a:gd name="connsiteX20" fmla="*/ 128890 w 353555"/>
                <a:gd name="connsiteY20" fmla="*/ 583072 h 761503"/>
                <a:gd name="connsiteX21" fmla="*/ 128890 w 353555"/>
                <a:gd name="connsiteY21" fmla="*/ 436210 h 761503"/>
                <a:gd name="connsiteX22" fmla="*/ 128890 w 353555"/>
                <a:gd name="connsiteY22" fmla="*/ 357340 h 761503"/>
                <a:gd name="connsiteX23" fmla="*/ 131609 w 353555"/>
                <a:gd name="connsiteY23" fmla="*/ 289349 h 761503"/>
                <a:gd name="connsiteX24" fmla="*/ 131609 w 353555"/>
                <a:gd name="connsiteY24" fmla="*/ 251274 h 761503"/>
                <a:gd name="connsiteX25" fmla="*/ 131609 w 353555"/>
                <a:gd name="connsiteY25" fmla="*/ 205040 h 761503"/>
                <a:gd name="connsiteX26" fmla="*/ 131609 w 353555"/>
                <a:gd name="connsiteY26" fmla="*/ 139768 h 761503"/>
                <a:gd name="connsiteX27" fmla="*/ 131609 w 353555"/>
                <a:gd name="connsiteY27" fmla="*/ 128889 h 761503"/>
                <a:gd name="connsiteX28" fmla="*/ 126170 w 353555"/>
                <a:gd name="connsiteY28" fmla="*/ 128889 h 761503"/>
                <a:gd name="connsiteX29" fmla="*/ 101693 w 353555"/>
                <a:gd name="connsiteY29" fmla="*/ 128889 h 761503"/>
                <a:gd name="connsiteX30" fmla="*/ 74496 w 353555"/>
                <a:gd name="connsiteY30" fmla="*/ 123450 h 761503"/>
                <a:gd name="connsiteX31" fmla="*/ 58178 w 353555"/>
                <a:gd name="connsiteY31" fmla="*/ 107132 h 761503"/>
                <a:gd name="connsiteX32" fmla="*/ 60898 w 353555"/>
                <a:gd name="connsiteY32" fmla="*/ 98973 h 761503"/>
                <a:gd name="connsiteX33" fmla="*/ 82655 w 353555"/>
                <a:gd name="connsiteY33" fmla="*/ 93534 h 761503"/>
                <a:gd name="connsiteX34" fmla="*/ 131609 w 353555"/>
                <a:gd name="connsiteY34" fmla="*/ 88094 h 761503"/>
                <a:gd name="connsiteX35" fmla="*/ 131609 w 353555"/>
                <a:gd name="connsiteY35" fmla="*/ 82655 h 761503"/>
                <a:gd name="connsiteX36" fmla="*/ 134329 w 353555"/>
                <a:gd name="connsiteY36" fmla="*/ 71776 h 761503"/>
                <a:gd name="connsiteX37" fmla="*/ 147927 w 353555"/>
                <a:gd name="connsiteY37" fmla="*/ 63617 h 761503"/>
                <a:gd name="connsiteX38" fmla="*/ 164245 w 353555"/>
                <a:gd name="connsiteY38" fmla="*/ 58178 h 761503"/>
                <a:gd name="connsiteX39" fmla="*/ 177843 w 353555"/>
                <a:gd name="connsiteY39" fmla="*/ 58178 h 761503"/>
                <a:gd name="connsiteX40" fmla="*/ 196881 w 353555"/>
                <a:gd name="connsiteY40" fmla="*/ 60898 h 761503"/>
                <a:gd name="connsiteX41" fmla="*/ 232237 w 353555"/>
                <a:gd name="connsiteY41" fmla="*/ 88094 h 761503"/>
                <a:gd name="connsiteX42" fmla="*/ 278471 w 353555"/>
                <a:gd name="connsiteY42" fmla="*/ 88094 h 761503"/>
                <a:gd name="connsiteX43" fmla="*/ 316546 w 353555"/>
                <a:gd name="connsiteY43" fmla="*/ 104412 h 761503"/>
                <a:gd name="connsiteX44" fmla="*/ 311107 w 353555"/>
                <a:gd name="connsiteY44" fmla="*/ 120730 h 761503"/>
                <a:gd name="connsiteX45" fmla="*/ 294789 w 353555"/>
                <a:gd name="connsiteY45" fmla="*/ 128889 h 761503"/>
                <a:gd name="connsiteX46" fmla="*/ 273032 w 353555"/>
                <a:gd name="connsiteY46" fmla="*/ 131609 h 761503"/>
                <a:gd name="connsiteX47" fmla="*/ 243115 w 353555"/>
                <a:gd name="connsiteY47" fmla="*/ 131609 h 761503"/>
                <a:gd name="connsiteX48" fmla="*/ 243115 w 353555"/>
                <a:gd name="connsiteY48" fmla="*/ 134329 h 761503"/>
                <a:gd name="connsiteX49" fmla="*/ 248554 w 353555"/>
                <a:gd name="connsiteY49" fmla="*/ 169684 h 761503"/>
                <a:gd name="connsiteX50" fmla="*/ 251274 w 353555"/>
                <a:gd name="connsiteY50" fmla="*/ 205040 h 761503"/>
                <a:gd name="connsiteX51" fmla="*/ 251274 w 353555"/>
                <a:gd name="connsiteY51" fmla="*/ 240395 h 761503"/>
                <a:gd name="connsiteX52" fmla="*/ 251274 w 353555"/>
                <a:gd name="connsiteY52" fmla="*/ 256713 h 761503"/>
                <a:gd name="connsiteX53" fmla="*/ 253994 w 353555"/>
                <a:gd name="connsiteY53" fmla="*/ 270311 h 761503"/>
                <a:gd name="connsiteX54" fmla="*/ 259433 w 353555"/>
                <a:gd name="connsiteY54" fmla="*/ 343742 h 761503"/>
                <a:gd name="connsiteX55" fmla="*/ 262153 w 353555"/>
                <a:gd name="connsiteY55" fmla="*/ 425332 h 761503"/>
                <a:gd name="connsiteX56" fmla="*/ 264872 w 353555"/>
                <a:gd name="connsiteY56" fmla="*/ 490603 h 761503"/>
                <a:gd name="connsiteX57" fmla="*/ 270312 w 353555"/>
                <a:gd name="connsiteY57" fmla="*/ 564034 h 761503"/>
                <a:gd name="connsiteX58" fmla="*/ 270312 w 353555"/>
                <a:gd name="connsiteY58" fmla="*/ 599390 h 761503"/>
                <a:gd name="connsiteX59" fmla="*/ 270312 w 353555"/>
                <a:gd name="connsiteY59" fmla="*/ 637465 h 761503"/>
                <a:gd name="connsiteX60" fmla="*/ 264872 w 353555"/>
                <a:gd name="connsiteY60" fmla="*/ 670101 h 761503"/>
                <a:gd name="connsiteX61" fmla="*/ 283910 w 353555"/>
                <a:gd name="connsiteY61" fmla="*/ 672820 h 761503"/>
                <a:gd name="connsiteX62" fmla="*/ 283910 w 353555"/>
                <a:gd name="connsiteY62" fmla="*/ 672820 h 76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53555" h="761503">
                  <a:moveTo>
                    <a:pt x="283910" y="672820"/>
                  </a:moveTo>
                  <a:cubicBezTo>
                    <a:pt x="297508" y="672820"/>
                    <a:pt x="321985" y="672820"/>
                    <a:pt x="321985" y="689138"/>
                  </a:cubicBezTo>
                  <a:cubicBezTo>
                    <a:pt x="321985" y="697297"/>
                    <a:pt x="319266" y="697297"/>
                    <a:pt x="316546" y="705456"/>
                  </a:cubicBezTo>
                  <a:cubicBezTo>
                    <a:pt x="311107" y="710895"/>
                    <a:pt x="305667" y="713615"/>
                    <a:pt x="300228" y="713615"/>
                  </a:cubicBezTo>
                  <a:cubicBezTo>
                    <a:pt x="292069" y="716335"/>
                    <a:pt x="283910" y="716335"/>
                    <a:pt x="278471" y="716335"/>
                  </a:cubicBezTo>
                  <a:cubicBezTo>
                    <a:pt x="275751" y="716335"/>
                    <a:pt x="256713" y="716335"/>
                    <a:pt x="237676" y="716335"/>
                  </a:cubicBezTo>
                  <a:cubicBezTo>
                    <a:pt x="213199" y="716335"/>
                    <a:pt x="186003" y="719054"/>
                    <a:pt x="180563" y="719054"/>
                  </a:cubicBezTo>
                  <a:cubicBezTo>
                    <a:pt x="166965" y="719054"/>
                    <a:pt x="142488" y="719054"/>
                    <a:pt x="126170" y="719054"/>
                  </a:cubicBezTo>
                  <a:cubicBezTo>
                    <a:pt x="118011" y="719054"/>
                    <a:pt x="109852" y="719054"/>
                    <a:pt x="101693" y="719054"/>
                  </a:cubicBezTo>
                  <a:cubicBezTo>
                    <a:pt x="93534" y="719054"/>
                    <a:pt x="82655" y="719054"/>
                    <a:pt x="74496" y="713615"/>
                  </a:cubicBezTo>
                  <a:cubicBezTo>
                    <a:pt x="66337" y="710895"/>
                    <a:pt x="58178" y="702736"/>
                    <a:pt x="58178" y="697297"/>
                  </a:cubicBezTo>
                  <a:cubicBezTo>
                    <a:pt x="58178" y="694578"/>
                    <a:pt x="58178" y="691858"/>
                    <a:pt x="63618" y="689138"/>
                  </a:cubicBezTo>
                  <a:cubicBezTo>
                    <a:pt x="69057" y="686418"/>
                    <a:pt x="79936" y="683699"/>
                    <a:pt x="85375" y="680979"/>
                  </a:cubicBezTo>
                  <a:cubicBezTo>
                    <a:pt x="104413" y="678260"/>
                    <a:pt x="123450" y="675540"/>
                    <a:pt x="131609" y="675540"/>
                  </a:cubicBezTo>
                  <a:cubicBezTo>
                    <a:pt x="134329" y="675540"/>
                    <a:pt x="137049" y="675540"/>
                    <a:pt x="142488" y="675540"/>
                  </a:cubicBezTo>
                  <a:cubicBezTo>
                    <a:pt x="134329" y="670101"/>
                    <a:pt x="131609" y="661942"/>
                    <a:pt x="131609" y="653783"/>
                  </a:cubicBezTo>
                  <a:cubicBezTo>
                    <a:pt x="131609" y="648343"/>
                    <a:pt x="131609" y="642904"/>
                    <a:pt x="128890" y="640184"/>
                  </a:cubicBezTo>
                  <a:cubicBezTo>
                    <a:pt x="128890" y="637465"/>
                    <a:pt x="128890" y="634745"/>
                    <a:pt x="128890" y="629306"/>
                  </a:cubicBezTo>
                  <a:cubicBezTo>
                    <a:pt x="128890" y="626586"/>
                    <a:pt x="128890" y="623867"/>
                    <a:pt x="128890" y="621147"/>
                  </a:cubicBezTo>
                  <a:cubicBezTo>
                    <a:pt x="128890" y="612988"/>
                    <a:pt x="128890" y="604829"/>
                    <a:pt x="128890" y="593950"/>
                  </a:cubicBezTo>
                  <a:cubicBezTo>
                    <a:pt x="128890" y="591231"/>
                    <a:pt x="128890" y="585791"/>
                    <a:pt x="128890" y="583072"/>
                  </a:cubicBezTo>
                  <a:cubicBezTo>
                    <a:pt x="128890" y="534118"/>
                    <a:pt x="131609" y="485164"/>
                    <a:pt x="128890" y="436210"/>
                  </a:cubicBezTo>
                  <a:cubicBezTo>
                    <a:pt x="128890" y="409014"/>
                    <a:pt x="128890" y="384537"/>
                    <a:pt x="128890" y="357340"/>
                  </a:cubicBezTo>
                  <a:cubicBezTo>
                    <a:pt x="128890" y="335583"/>
                    <a:pt x="131609" y="313826"/>
                    <a:pt x="131609" y="289349"/>
                  </a:cubicBezTo>
                  <a:cubicBezTo>
                    <a:pt x="131609" y="275751"/>
                    <a:pt x="131609" y="264872"/>
                    <a:pt x="131609" y="251274"/>
                  </a:cubicBezTo>
                  <a:cubicBezTo>
                    <a:pt x="131609" y="234956"/>
                    <a:pt x="131609" y="221357"/>
                    <a:pt x="131609" y="205040"/>
                  </a:cubicBezTo>
                  <a:cubicBezTo>
                    <a:pt x="131609" y="183282"/>
                    <a:pt x="131609" y="161525"/>
                    <a:pt x="131609" y="139768"/>
                  </a:cubicBezTo>
                  <a:cubicBezTo>
                    <a:pt x="131609" y="137048"/>
                    <a:pt x="131609" y="134329"/>
                    <a:pt x="131609" y="128889"/>
                  </a:cubicBezTo>
                  <a:cubicBezTo>
                    <a:pt x="128890" y="128889"/>
                    <a:pt x="126170" y="128889"/>
                    <a:pt x="126170" y="128889"/>
                  </a:cubicBezTo>
                  <a:cubicBezTo>
                    <a:pt x="118011" y="128889"/>
                    <a:pt x="109852" y="128889"/>
                    <a:pt x="101693" y="128889"/>
                  </a:cubicBezTo>
                  <a:cubicBezTo>
                    <a:pt x="93534" y="128889"/>
                    <a:pt x="82655" y="128889"/>
                    <a:pt x="74496" y="123450"/>
                  </a:cubicBezTo>
                  <a:cubicBezTo>
                    <a:pt x="66337" y="120730"/>
                    <a:pt x="58178" y="112571"/>
                    <a:pt x="58178" y="107132"/>
                  </a:cubicBezTo>
                  <a:cubicBezTo>
                    <a:pt x="58178" y="104412"/>
                    <a:pt x="58178" y="101693"/>
                    <a:pt x="60898" y="98973"/>
                  </a:cubicBezTo>
                  <a:cubicBezTo>
                    <a:pt x="63618" y="96253"/>
                    <a:pt x="77216" y="93534"/>
                    <a:pt x="82655" y="93534"/>
                  </a:cubicBezTo>
                  <a:cubicBezTo>
                    <a:pt x="98973" y="90814"/>
                    <a:pt x="123450" y="88094"/>
                    <a:pt x="131609" y="88094"/>
                  </a:cubicBezTo>
                  <a:cubicBezTo>
                    <a:pt x="131609" y="85375"/>
                    <a:pt x="131609" y="85375"/>
                    <a:pt x="131609" y="82655"/>
                  </a:cubicBezTo>
                  <a:cubicBezTo>
                    <a:pt x="131609" y="77216"/>
                    <a:pt x="131609" y="74496"/>
                    <a:pt x="134329" y="71776"/>
                  </a:cubicBezTo>
                  <a:cubicBezTo>
                    <a:pt x="137049" y="69057"/>
                    <a:pt x="145208" y="66337"/>
                    <a:pt x="147927" y="63617"/>
                  </a:cubicBezTo>
                  <a:cubicBezTo>
                    <a:pt x="153366" y="60898"/>
                    <a:pt x="158806" y="58178"/>
                    <a:pt x="164245" y="58178"/>
                  </a:cubicBezTo>
                  <a:cubicBezTo>
                    <a:pt x="169684" y="58178"/>
                    <a:pt x="175124" y="58178"/>
                    <a:pt x="177843" y="58178"/>
                  </a:cubicBezTo>
                  <a:cubicBezTo>
                    <a:pt x="183283" y="58178"/>
                    <a:pt x="191442" y="58178"/>
                    <a:pt x="196881" y="60898"/>
                  </a:cubicBezTo>
                  <a:cubicBezTo>
                    <a:pt x="213199" y="63617"/>
                    <a:pt x="224078" y="74496"/>
                    <a:pt x="232237" y="88094"/>
                  </a:cubicBezTo>
                  <a:cubicBezTo>
                    <a:pt x="253994" y="88094"/>
                    <a:pt x="270312" y="88094"/>
                    <a:pt x="278471" y="88094"/>
                  </a:cubicBezTo>
                  <a:cubicBezTo>
                    <a:pt x="292069" y="88094"/>
                    <a:pt x="316546" y="88094"/>
                    <a:pt x="316546" y="104412"/>
                  </a:cubicBezTo>
                  <a:cubicBezTo>
                    <a:pt x="316546" y="112571"/>
                    <a:pt x="313826" y="112571"/>
                    <a:pt x="311107" y="120730"/>
                  </a:cubicBezTo>
                  <a:cubicBezTo>
                    <a:pt x="305667" y="126170"/>
                    <a:pt x="300228" y="128889"/>
                    <a:pt x="294789" y="128889"/>
                  </a:cubicBezTo>
                  <a:cubicBezTo>
                    <a:pt x="286630" y="131609"/>
                    <a:pt x="278471" y="131609"/>
                    <a:pt x="273032" y="131609"/>
                  </a:cubicBezTo>
                  <a:cubicBezTo>
                    <a:pt x="270312" y="131609"/>
                    <a:pt x="259433" y="131609"/>
                    <a:pt x="243115" y="131609"/>
                  </a:cubicBezTo>
                  <a:lnTo>
                    <a:pt x="243115" y="134329"/>
                  </a:lnTo>
                  <a:cubicBezTo>
                    <a:pt x="245835" y="145207"/>
                    <a:pt x="245835" y="158805"/>
                    <a:pt x="248554" y="169684"/>
                  </a:cubicBezTo>
                  <a:cubicBezTo>
                    <a:pt x="251274" y="180563"/>
                    <a:pt x="251274" y="194161"/>
                    <a:pt x="251274" y="205040"/>
                  </a:cubicBezTo>
                  <a:cubicBezTo>
                    <a:pt x="251274" y="215918"/>
                    <a:pt x="251274" y="226797"/>
                    <a:pt x="251274" y="240395"/>
                  </a:cubicBezTo>
                  <a:cubicBezTo>
                    <a:pt x="251274" y="245834"/>
                    <a:pt x="251274" y="251274"/>
                    <a:pt x="251274" y="256713"/>
                  </a:cubicBezTo>
                  <a:cubicBezTo>
                    <a:pt x="251274" y="262152"/>
                    <a:pt x="251274" y="267592"/>
                    <a:pt x="253994" y="270311"/>
                  </a:cubicBezTo>
                  <a:cubicBezTo>
                    <a:pt x="256713" y="294788"/>
                    <a:pt x="256713" y="319265"/>
                    <a:pt x="259433" y="343742"/>
                  </a:cubicBezTo>
                  <a:cubicBezTo>
                    <a:pt x="259433" y="370939"/>
                    <a:pt x="262153" y="398135"/>
                    <a:pt x="262153" y="425332"/>
                  </a:cubicBezTo>
                  <a:cubicBezTo>
                    <a:pt x="262153" y="447089"/>
                    <a:pt x="262153" y="468846"/>
                    <a:pt x="264872" y="490603"/>
                  </a:cubicBezTo>
                  <a:cubicBezTo>
                    <a:pt x="264872" y="515080"/>
                    <a:pt x="270312" y="539557"/>
                    <a:pt x="270312" y="564034"/>
                  </a:cubicBezTo>
                  <a:cubicBezTo>
                    <a:pt x="270312" y="574913"/>
                    <a:pt x="270312" y="588511"/>
                    <a:pt x="270312" y="599390"/>
                  </a:cubicBezTo>
                  <a:cubicBezTo>
                    <a:pt x="270312" y="612988"/>
                    <a:pt x="270312" y="623867"/>
                    <a:pt x="270312" y="637465"/>
                  </a:cubicBezTo>
                  <a:cubicBezTo>
                    <a:pt x="270312" y="648343"/>
                    <a:pt x="270312" y="661942"/>
                    <a:pt x="264872" y="670101"/>
                  </a:cubicBezTo>
                  <a:cubicBezTo>
                    <a:pt x="273032" y="672820"/>
                    <a:pt x="278471" y="672820"/>
                    <a:pt x="283910" y="672820"/>
                  </a:cubicBezTo>
                  <a:lnTo>
                    <a:pt x="283910" y="672820"/>
                  </a:lnTo>
                  <a:close/>
                </a:path>
              </a:pathLst>
            </a:custGeom>
            <a:grpFill/>
            <a:ln w="27168"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070D6632-F4B3-429E-B358-341423728536}"/>
                </a:ext>
              </a:extLst>
            </p:cNvPr>
            <p:cNvSpPr/>
            <p:nvPr/>
          </p:nvSpPr>
          <p:spPr>
            <a:xfrm>
              <a:off x="8652924" y="4192158"/>
              <a:ext cx="516735" cy="788700"/>
            </a:xfrm>
            <a:custGeom>
              <a:avLst/>
              <a:gdLst>
                <a:gd name="connsiteX0" fmla="*/ 464616 w 516735"/>
                <a:gd name="connsiteY0" fmla="*/ 436210 h 788699"/>
                <a:gd name="connsiteX1" fmla="*/ 445578 w 516735"/>
                <a:gd name="connsiteY1" fmla="*/ 455248 h 788699"/>
                <a:gd name="connsiteX2" fmla="*/ 404783 w 516735"/>
                <a:gd name="connsiteY2" fmla="*/ 466126 h 788699"/>
                <a:gd name="connsiteX3" fmla="*/ 385746 w 516735"/>
                <a:gd name="connsiteY3" fmla="*/ 479725 h 788699"/>
                <a:gd name="connsiteX4" fmla="*/ 388466 w 516735"/>
                <a:gd name="connsiteY4" fmla="*/ 512361 h 788699"/>
                <a:gd name="connsiteX5" fmla="*/ 388466 w 516735"/>
                <a:gd name="connsiteY5" fmla="*/ 544997 h 788699"/>
                <a:gd name="connsiteX6" fmla="*/ 388466 w 516735"/>
                <a:gd name="connsiteY6" fmla="*/ 566754 h 788699"/>
                <a:gd name="connsiteX7" fmla="*/ 391185 w 516735"/>
                <a:gd name="connsiteY7" fmla="*/ 632026 h 788699"/>
                <a:gd name="connsiteX8" fmla="*/ 393905 w 516735"/>
                <a:gd name="connsiteY8" fmla="*/ 683699 h 788699"/>
                <a:gd name="connsiteX9" fmla="*/ 377587 w 516735"/>
                <a:gd name="connsiteY9" fmla="*/ 724494 h 788699"/>
                <a:gd name="connsiteX10" fmla="*/ 361269 w 516735"/>
                <a:gd name="connsiteY10" fmla="*/ 719054 h 788699"/>
                <a:gd name="connsiteX11" fmla="*/ 353110 w 516735"/>
                <a:gd name="connsiteY11" fmla="*/ 702737 h 788699"/>
                <a:gd name="connsiteX12" fmla="*/ 350390 w 516735"/>
                <a:gd name="connsiteY12" fmla="*/ 686419 h 788699"/>
                <a:gd name="connsiteX13" fmla="*/ 353110 w 516735"/>
                <a:gd name="connsiteY13" fmla="*/ 659222 h 788699"/>
                <a:gd name="connsiteX14" fmla="*/ 353110 w 516735"/>
                <a:gd name="connsiteY14" fmla="*/ 656502 h 788699"/>
                <a:gd name="connsiteX15" fmla="*/ 317754 w 516735"/>
                <a:gd name="connsiteY15" fmla="*/ 708176 h 788699"/>
                <a:gd name="connsiteX16" fmla="*/ 241604 w 516735"/>
                <a:gd name="connsiteY16" fmla="*/ 735372 h 788699"/>
                <a:gd name="connsiteX17" fmla="*/ 187211 w 516735"/>
                <a:gd name="connsiteY17" fmla="*/ 727214 h 788699"/>
                <a:gd name="connsiteX18" fmla="*/ 135537 w 516735"/>
                <a:gd name="connsiteY18" fmla="*/ 694578 h 788699"/>
                <a:gd name="connsiteX19" fmla="*/ 86583 w 516735"/>
                <a:gd name="connsiteY19" fmla="*/ 621147 h 788699"/>
                <a:gd name="connsiteX20" fmla="*/ 67546 w 516735"/>
                <a:gd name="connsiteY20" fmla="*/ 555875 h 788699"/>
                <a:gd name="connsiteX21" fmla="*/ 59387 w 516735"/>
                <a:gd name="connsiteY21" fmla="*/ 509641 h 788699"/>
                <a:gd name="connsiteX22" fmla="*/ 59387 w 516735"/>
                <a:gd name="connsiteY22" fmla="*/ 468846 h 788699"/>
                <a:gd name="connsiteX23" fmla="*/ 86583 w 516735"/>
                <a:gd name="connsiteY23" fmla="*/ 302947 h 788699"/>
                <a:gd name="connsiteX24" fmla="*/ 108341 w 516735"/>
                <a:gd name="connsiteY24" fmla="*/ 224077 h 788699"/>
                <a:gd name="connsiteX25" fmla="*/ 146416 w 516735"/>
                <a:gd name="connsiteY25" fmla="*/ 145207 h 788699"/>
                <a:gd name="connsiteX26" fmla="*/ 198090 w 516735"/>
                <a:gd name="connsiteY26" fmla="*/ 85375 h 788699"/>
                <a:gd name="connsiteX27" fmla="*/ 228006 w 516735"/>
                <a:gd name="connsiteY27" fmla="*/ 69057 h 788699"/>
                <a:gd name="connsiteX28" fmla="*/ 268801 w 516735"/>
                <a:gd name="connsiteY28" fmla="*/ 58178 h 788699"/>
                <a:gd name="connsiteX29" fmla="*/ 274240 w 516735"/>
                <a:gd name="connsiteY29" fmla="*/ 58178 h 788699"/>
                <a:gd name="connsiteX30" fmla="*/ 295997 w 516735"/>
                <a:gd name="connsiteY30" fmla="*/ 60898 h 788699"/>
                <a:gd name="connsiteX31" fmla="*/ 331353 w 516735"/>
                <a:gd name="connsiteY31" fmla="*/ 71776 h 788699"/>
                <a:gd name="connsiteX32" fmla="*/ 350390 w 516735"/>
                <a:gd name="connsiteY32" fmla="*/ 93534 h 788699"/>
                <a:gd name="connsiteX33" fmla="*/ 353110 w 516735"/>
                <a:gd name="connsiteY33" fmla="*/ 74496 h 788699"/>
                <a:gd name="connsiteX34" fmla="*/ 358549 w 516735"/>
                <a:gd name="connsiteY34" fmla="*/ 63618 h 788699"/>
                <a:gd name="connsiteX35" fmla="*/ 366708 w 516735"/>
                <a:gd name="connsiteY35" fmla="*/ 58178 h 788699"/>
                <a:gd name="connsiteX36" fmla="*/ 374867 w 516735"/>
                <a:gd name="connsiteY36" fmla="*/ 63618 h 788699"/>
                <a:gd name="connsiteX37" fmla="*/ 383027 w 516735"/>
                <a:gd name="connsiteY37" fmla="*/ 82655 h 788699"/>
                <a:gd name="connsiteX38" fmla="*/ 385746 w 516735"/>
                <a:gd name="connsiteY38" fmla="*/ 126170 h 788699"/>
                <a:gd name="connsiteX39" fmla="*/ 388466 w 516735"/>
                <a:gd name="connsiteY39" fmla="*/ 186002 h 788699"/>
                <a:gd name="connsiteX40" fmla="*/ 391185 w 516735"/>
                <a:gd name="connsiteY40" fmla="*/ 237676 h 788699"/>
                <a:gd name="connsiteX41" fmla="*/ 374867 w 516735"/>
                <a:gd name="connsiteY41" fmla="*/ 278470 h 788699"/>
                <a:gd name="connsiteX42" fmla="*/ 358549 w 516735"/>
                <a:gd name="connsiteY42" fmla="*/ 273031 h 788699"/>
                <a:gd name="connsiteX43" fmla="*/ 350390 w 516735"/>
                <a:gd name="connsiteY43" fmla="*/ 256713 h 788699"/>
                <a:gd name="connsiteX44" fmla="*/ 347671 w 516735"/>
                <a:gd name="connsiteY44" fmla="*/ 240395 h 788699"/>
                <a:gd name="connsiteX45" fmla="*/ 347671 w 516735"/>
                <a:gd name="connsiteY45" fmla="*/ 213199 h 788699"/>
                <a:gd name="connsiteX46" fmla="*/ 344951 w 516735"/>
                <a:gd name="connsiteY46" fmla="*/ 194161 h 788699"/>
                <a:gd name="connsiteX47" fmla="*/ 339512 w 516735"/>
                <a:gd name="connsiteY47" fmla="*/ 150647 h 788699"/>
                <a:gd name="connsiteX48" fmla="*/ 323194 w 516735"/>
                <a:gd name="connsiteY48" fmla="*/ 112571 h 788699"/>
                <a:gd name="connsiteX49" fmla="*/ 293278 w 516735"/>
                <a:gd name="connsiteY49" fmla="*/ 101693 h 788699"/>
                <a:gd name="connsiteX50" fmla="*/ 263361 w 516735"/>
                <a:gd name="connsiteY50" fmla="*/ 120730 h 788699"/>
                <a:gd name="connsiteX51" fmla="*/ 241604 w 516735"/>
                <a:gd name="connsiteY51" fmla="*/ 153366 h 788699"/>
                <a:gd name="connsiteX52" fmla="*/ 233445 w 516735"/>
                <a:gd name="connsiteY52" fmla="*/ 194161 h 788699"/>
                <a:gd name="connsiteX53" fmla="*/ 225286 w 516735"/>
                <a:gd name="connsiteY53" fmla="*/ 232236 h 788699"/>
                <a:gd name="connsiteX54" fmla="*/ 217127 w 516735"/>
                <a:gd name="connsiteY54" fmla="*/ 275751 h 788699"/>
                <a:gd name="connsiteX55" fmla="*/ 211688 w 516735"/>
                <a:gd name="connsiteY55" fmla="*/ 316545 h 788699"/>
                <a:gd name="connsiteX56" fmla="*/ 206249 w 516735"/>
                <a:gd name="connsiteY56" fmla="*/ 354621 h 788699"/>
                <a:gd name="connsiteX57" fmla="*/ 200809 w 516735"/>
                <a:gd name="connsiteY57" fmla="*/ 398135 h 788699"/>
                <a:gd name="connsiteX58" fmla="*/ 195370 w 516735"/>
                <a:gd name="connsiteY58" fmla="*/ 438930 h 788699"/>
                <a:gd name="connsiteX59" fmla="*/ 192650 w 516735"/>
                <a:gd name="connsiteY59" fmla="*/ 474286 h 788699"/>
                <a:gd name="connsiteX60" fmla="*/ 195370 w 516735"/>
                <a:gd name="connsiteY60" fmla="*/ 525959 h 788699"/>
                <a:gd name="connsiteX61" fmla="*/ 208968 w 516735"/>
                <a:gd name="connsiteY61" fmla="*/ 596670 h 788699"/>
                <a:gd name="connsiteX62" fmla="*/ 214407 w 516735"/>
                <a:gd name="connsiteY62" fmla="*/ 623867 h 788699"/>
                <a:gd name="connsiteX63" fmla="*/ 228006 w 516735"/>
                <a:gd name="connsiteY63" fmla="*/ 656502 h 788699"/>
                <a:gd name="connsiteX64" fmla="*/ 271520 w 516735"/>
                <a:gd name="connsiteY64" fmla="*/ 689138 h 788699"/>
                <a:gd name="connsiteX65" fmla="*/ 306876 w 516735"/>
                <a:gd name="connsiteY65" fmla="*/ 664661 h 788699"/>
                <a:gd name="connsiteX66" fmla="*/ 331353 w 516735"/>
                <a:gd name="connsiteY66" fmla="*/ 602109 h 788699"/>
                <a:gd name="connsiteX67" fmla="*/ 336792 w 516735"/>
                <a:gd name="connsiteY67" fmla="*/ 544997 h 788699"/>
                <a:gd name="connsiteX68" fmla="*/ 336792 w 516735"/>
                <a:gd name="connsiteY68" fmla="*/ 498762 h 788699"/>
                <a:gd name="connsiteX69" fmla="*/ 336792 w 516735"/>
                <a:gd name="connsiteY69" fmla="*/ 490603 h 788699"/>
                <a:gd name="connsiteX70" fmla="*/ 320474 w 516735"/>
                <a:gd name="connsiteY70" fmla="*/ 477005 h 788699"/>
                <a:gd name="connsiteX71" fmla="*/ 282399 w 516735"/>
                <a:gd name="connsiteY71" fmla="*/ 479725 h 788699"/>
                <a:gd name="connsiteX72" fmla="*/ 252483 w 516735"/>
                <a:gd name="connsiteY72" fmla="*/ 474286 h 788699"/>
                <a:gd name="connsiteX73" fmla="*/ 247044 w 516735"/>
                <a:gd name="connsiteY73" fmla="*/ 466126 h 788699"/>
                <a:gd name="connsiteX74" fmla="*/ 249763 w 516735"/>
                <a:gd name="connsiteY74" fmla="*/ 457968 h 788699"/>
                <a:gd name="connsiteX75" fmla="*/ 268801 w 516735"/>
                <a:gd name="connsiteY75" fmla="*/ 447089 h 788699"/>
                <a:gd name="connsiteX76" fmla="*/ 312315 w 516735"/>
                <a:gd name="connsiteY76" fmla="*/ 436210 h 788699"/>
                <a:gd name="connsiteX77" fmla="*/ 353110 w 516735"/>
                <a:gd name="connsiteY77" fmla="*/ 430771 h 788699"/>
                <a:gd name="connsiteX78" fmla="*/ 385746 w 516735"/>
                <a:gd name="connsiteY78" fmla="*/ 430771 h 788699"/>
                <a:gd name="connsiteX79" fmla="*/ 437420 w 516735"/>
                <a:gd name="connsiteY79" fmla="*/ 428051 h 788699"/>
                <a:gd name="connsiteX80" fmla="*/ 464616 w 516735"/>
                <a:gd name="connsiteY80" fmla="*/ 436210 h 78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516735" h="788699">
                  <a:moveTo>
                    <a:pt x="464616" y="436210"/>
                  </a:moveTo>
                  <a:cubicBezTo>
                    <a:pt x="464616" y="447089"/>
                    <a:pt x="453738" y="452528"/>
                    <a:pt x="445578" y="455248"/>
                  </a:cubicBezTo>
                  <a:cubicBezTo>
                    <a:pt x="434700" y="460687"/>
                    <a:pt x="415662" y="463407"/>
                    <a:pt x="404783" y="466126"/>
                  </a:cubicBezTo>
                  <a:cubicBezTo>
                    <a:pt x="393905" y="466126"/>
                    <a:pt x="385746" y="468846"/>
                    <a:pt x="385746" y="479725"/>
                  </a:cubicBezTo>
                  <a:cubicBezTo>
                    <a:pt x="385746" y="487884"/>
                    <a:pt x="388466" y="506921"/>
                    <a:pt x="388466" y="512361"/>
                  </a:cubicBezTo>
                  <a:cubicBezTo>
                    <a:pt x="388466" y="515080"/>
                    <a:pt x="388466" y="539557"/>
                    <a:pt x="388466" y="544997"/>
                  </a:cubicBezTo>
                  <a:cubicBezTo>
                    <a:pt x="388466" y="550436"/>
                    <a:pt x="388466" y="558595"/>
                    <a:pt x="388466" y="566754"/>
                  </a:cubicBezTo>
                  <a:cubicBezTo>
                    <a:pt x="388466" y="591231"/>
                    <a:pt x="388466" y="621147"/>
                    <a:pt x="391185" y="632026"/>
                  </a:cubicBezTo>
                  <a:cubicBezTo>
                    <a:pt x="393905" y="653783"/>
                    <a:pt x="393905" y="661942"/>
                    <a:pt x="393905" y="683699"/>
                  </a:cubicBezTo>
                  <a:cubicBezTo>
                    <a:pt x="393905" y="694578"/>
                    <a:pt x="393905" y="724494"/>
                    <a:pt x="377587" y="724494"/>
                  </a:cubicBezTo>
                  <a:cubicBezTo>
                    <a:pt x="369428" y="724494"/>
                    <a:pt x="366708" y="721774"/>
                    <a:pt x="361269" y="719054"/>
                  </a:cubicBezTo>
                  <a:cubicBezTo>
                    <a:pt x="355830" y="716335"/>
                    <a:pt x="353110" y="708176"/>
                    <a:pt x="353110" y="702737"/>
                  </a:cubicBezTo>
                  <a:cubicBezTo>
                    <a:pt x="350390" y="694578"/>
                    <a:pt x="350390" y="689138"/>
                    <a:pt x="350390" y="686419"/>
                  </a:cubicBezTo>
                  <a:cubicBezTo>
                    <a:pt x="350390" y="678260"/>
                    <a:pt x="353110" y="672820"/>
                    <a:pt x="353110" y="659222"/>
                  </a:cubicBezTo>
                  <a:lnTo>
                    <a:pt x="353110" y="656502"/>
                  </a:lnTo>
                  <a:cubicBezTo>
                    <a:pt x="347671" y="675540"/>
                    <a:pt x="334073" y="694578"/>
                    <a:pt x="317754" y="708176"/>
                  </a:cubicBezTo>
                  <a:cubicBezTo>
                    <a:pt x="293278" y="727214"/>
                    <a:pt x="274240" y="735372"/>
                    <a:pt x="241604" y="735372"/>
                  </a:cubicBezTo>
                  <a:cubicBezTo>
                    <a:pt x="222566" y="735372"/>
                    <a:pt x="203529" y="732653"/>
                    <a:pt x="187211" y="727214"/>
                  </a:cubicBezTo>
                  <a:cubicBezTo>
                    <a:pt x="165454" y="719054"/>
                    <a:pt x="149136" y="708176"/>
                    <a:pt x="135537" y="694578"/>
                  </a:cubicBezTo>
                  <a:cubicBezTo>
                    <a:pt x="113780" y="672820"/>
                    <a:pt x="100182" y="648343"/>
                    <a:pt x="86583" y="621147"/>
                  </a:cubicBezTo>
                  <a:cubicBezTo>
                    <a:pt x="75705" y="599390"/>
                    <a:pt x="70266" y="580352"/>
                    <a:pt x="67546" y="555875"/>
                  </a:cubicBezTo>
                  <a:cubicBezTo>
                    <a:pt x="64826" y="539557"/>
                    <a:pt x="62107" y="525959"/>
                    <a:pt x="59387" y="509641"/>
                  </a:cubicBezTo>
                  <a:cubicBezTo>
                    <a:pt x="56667" y="493323"/>
                    <a:pt x="59387" y="485164"/>
                    <a:pt x="59387" y="468846"/>
                  </a:cubicBezTo>
                  <a:cubicBezTo>
                    <a:pt x="59387" y="414453"/>
                    <a:pt x="72985" y="362780"/>
                    <a:pt x="86583" y="302947"/>
                  </a:cubicBezTo>
                  <a:cubicBezTo>
                    <a:pt x="92023" y="275751"/>
                    <a:pt x="100182" y="248554"/>
                    <a:pt x="108341" y="224077"/>
                  </a:cubicBezTo>
                  <a:cubicBezTo>
                    <a:pt x="116500" y="196881"/>
                    <a:pt x="130098" y="169684"/>
                    <a:pt x="146416" y="145207"/>
                  </a:cubicBezTo>
                  <a:cubicBezTo>
                    <a:pt x="160014" y="123450"/>
                    <a:pt x="176332" y="101693"/>
                    <a:pt x="198090" y="85375"/>
                  </a:cubicBezTo>
                  <a:cubicBezTo>
                    <a:pt x="206249" y="77216"/>
                    <a:pt x="217127" y="71776"/>
                    <a:pt x="228006" y="69057"/>
                  </a:cubicBezTo>
                  <a:cubicBezTo>
                    <a:pt x="241604" y="63618"/>
                    <a:pt x="255202" y="58178"/>
                    <a:pt x="268801" y="58178"/>
                  </a:cubicBezTo>
                  <a:cubicBezTo>
                    <a:pt x="271520" y="58178"/>
                    <a:pt x="274240" y="58178"/>
                    <a:pt x="274240" y="58178"/>
                  </a:cubicBezTo>
                  <a:cubicBezTo>
                    <a:pt x="279679" y="58178"/>
                    <a:pt x="285119" y="58178"/>
                    <a:pt x="295997" y="60898"/>
                  </a:cubicBezTo>
                  <a:cubicBezTo>
                    <a:pt x="309595" y="63618"/>
                    <a:pt x="320474" y="66337"/>
                    <a:pt x="331353" y="71776"/>
                  </a:cubicBezTo>
                  <a:cubicBezTo>
                    <a:pt x="339512" y="77216"/>
                    <a:pt x="347671" y="85375"/>
                    <a:pt x="350390" y="93534"/>
                  </a:cubicBezTo>
                  <a:cubicBezTo>
                    <a:pt x="350390" y="88095"/>
                    <a:pt x="353110" y="79936"/>
                    <a:pt x="353110" y="74496"/>
                  </a:cubicBezTo>
                  <a:cubicBezTo>
                    <a:pt x="355830" y="71776"/>
                    <a:pt x="355830" y="69057"/>
                    <a:pt x="358549" y="63618"/>
                  </a:cubicBezTo>
                  <a:cubicBezTo>
                    <a:pt x="361269" y="60898"/>
                    <a:pt x="363989" y="58178"/>
                    <a:pt x="366708" y="58178"/>
                  </a:cubicBezTo>
                  <a:cubicBezTo>
                    <a:pt x="369428" y="58178"/>
                    <a:pt x="372148" y="60898"/>
                    <a:pt x="374867" y="63618"/>
                  </a:cubicBezTo>
                  <a:cubicBezTo>
                    <a:pt x="377587" y="69057"/>
                    <a:pt x="380307" y="77216"/>
                    <a:pt x="383027" y="82655"/>
                  </a:cubicBezTo>
                  <a:cubicBezTo>
                    <a:pt x="383027" y="90814"/>
                    <a:pt x="385746" y="107132"/>
                    <a:pt x="385746" y="126170"/>
                  </a:cubicBezTo>
                  <a:cubicBezTo>
                    <a:pt x="385746" y="150647"/>
                    <a:pt x="385746" y="177843"/>
                    <a:pt x="388466" y="186002"/>
                  </a:cubicBezTo>
                  <a:cubicBezTo>
                    <a:pt x="391185" y="207759"/>
                    <a:pt x="391185" y="215918"/>
                    <a:pt x="391185" y="237676"/>
                  </a:cubicBezTo>
                  <a:cubicBezTo>
                    <a:pt x="391185" y="248554"/>
                    <a:pt x="391185" y="278470"/>
                    <a:pt x="374867" y="278470"/>
                  </a:cubicBezTo>
                  <a:cubicBezTo>
                    <a:pt x="366708" y="278470"/>
                    <a:pt x="363989" y="275751"/>
                    <a:pt x="358549" y="273031"/>
                  </a:cubicBezTo>
                  <a:cubicBezTo>
                    <a:pt x="353110" y="270311"/>
                    <a:pt x="350390" y="262152"/>
                    <a:pt x="350390" y="256713"/>
                  </a:cubicBezTo>
                  <a:cubicBezTo>
                    <a:pt x="350390" y="251274"/>
                    <a:pt x="347671" y="245834"/>
                    <a:pt x="347671" y="240395"/>
                  </a:cubicBezTo>
                  <a:cubicBezTo>
                    <a:pt x="347671" y="232236"/>
                    <a:pt x="347671" y="224077"/>
                    <a:pt x="347671" y="213199"/>
                  </a:cubicBezTo>
                  <a:cubicBezTo>
                    <a:pt x="347671" y="207759"/>
                    <a:pt x="347671" y="199600"/>
                    <a:pt x="344951" y="194161"/>
                  </a:cubicBezTo>
                  <a:cubicBezTo>
                    <a:pt x="342232" y="180563"/>
                    <a:pt x="342232" y="164245"/>
                    <a:pt x="339512" y="150647"/>
                  </a:cubicBezTo>
                  <a:cubicBezTo>
                    <a:pt x="336792" y="137048"/>
                    <a:pt x="331353" y="123450"/>
                    <a:pt x="323194" y="112571"/>
                  </a:cubicBezTo>
                  <a:cubicBezTo>
                    <a:pt x="317754" y="104412"/>
                    <a:pt x="304156" y="101693"/>
                    <a:pt x="293278" y="101693"/>
                  </a:cubicBezTo>
                  <a:cubicBezTo>
                    <a:pt x="279679" y="101693"/>
                    <a:pt x="271520" y="109852"/>
                    <a:pt x="263361" y="120730"/>
                  </a:cubicBezTo>
                  <a:cubicBezTo>
                    <a:pt x="257922" y="131609"/>
                    <a:pt x="247044" y="139768"/>
                    <a:pt x="241604" y="153366"/>
                  </a:cubicBezTo>
                  <a:cubicBezTo>
                    <a:pt x="236165" y="166964"/>
                    <a:pt x="233445" y="180563"/>
                    <a:pt x="233445" y="194161"/>
                  </a:cubicBezTo>
                  <a:cubicBezTo>
                    <a:pt x="233445" y="207759"/>
                    <a:pt x="230725" y="218638"/>
                    <a:pt x="225286" y="232236"/>
                  </a:cubicBezTo>
                  <a:cubicBezTo>
                    <a:pt x="219847" y="245834"/>
                    <a:pt x="219847" y="262152"/>
                    <a:pt x="217127" y="275751"/>
                  </a:cubicBezTo>
                  <a:cubicBezTo>
                    <a:pt x="214407" y="289349"/>
                    <a:pt x="214407" y="302947"/>
                    <a:pt x="211688" y="316545"/>
                  </a:cubicBezTo>
                  <a:cubicBezTo>
                    <a:pt x="211688" y="330144"/>
                    <a:pt x="206249" y="341022"/>
                    <a:pt x="206249" y="354621"/>
                  </a:cubicBezTo>
                  <a:cubicBezTo>
                    <a:pt x="203529" y="368219"/>
                    <a:pt x="203529" y="381817"/>
                    <a:pt x="200809" y="398135"/>
                  </a:cubicBezTo>
                  <a:cubicBezTo>
                    <a:pt x="198090" y="411733"/>
                    <a:pt x="198090" y="425332"/>
                    <a:pt x="195370" y="438930"/>
                  </a:cubicBezTo>
                  <a:cubicBezTo>
                    <a:pt x="195370" y="449809"/>
                    <a:pt x="192650" y="463407"/>
                    <a:pt x="192650" y="474286"/>
                  </a:cubicBezTo>
                  <a:cubicBezTo>
                    <a:pt x="192650" y="490603"/>
                    <a:pt x="195370" y="509641"/>
                    <a:pt x="195370" y="525959"/>
                  </a:cubicBezTo>
                  <a:cubicBezTo>
                    <a:pt x="195370" y="550436"/>
                    <a:pt x="203529" y="572193"/>
                    <a:pt x="208968" y="596670"/>
                  </a:cubicBezTo>
                  <a:cubicBezTo>
                    <a:pt x="211688" y="604829"/>
                    <a:pt x="211688" y="615708"/>
                    <a:pt x="214407" y="623867"/>
                  </a:cubicBezTo>
                  <a:cubicBezTo>
                    <a:pt x="217127" y="634745"/>
                    <a:pt x="222566" y="645624"/>
                    <a:pt x="228006" y="656502"/>
                  </a:cubicBezTo>
                  <a:cubicBezTo>
                    <a:pt x="236165" y="670101"/>
                    <a:pt x="252483" y="689138"/>
                    <a:pt x="271520" y="689138"/>
                  </a:cubicBezTo>
                  <a:cubicBezTo>
                    <a:pt x="287838" y="689138"/>
                    <a:pt x="298717" y="675540"/>
                    <a:pt x="306876" y="664661"/>
                  </a:cubicBezTo>
                  <a:cubicBezTo>
                    <a:pt x="320474" y="645624"/>
                    <a:pt x="325914" y="623867"/>
                    <a:pt x="331353" y="602109"/>
                  </a:cubicBezTo>
                  <a:cubicBezTo>
                    <a:pt x="334073" y="583072"/>
                    <a:pt x="336792" y="564034"/>
                    <a:pt x="336792" y="544997"/>
                  </a:cubicBezTo>
                  <a:cubicBezTo>
                    <a:pt x="336792" y="531398"/>
                    <a:pt x="336792" y="512361"/>
                    <a:pt x="336792" y="498762"/>
                  </a:cubicBezTo>
                  <a:cubicBezTo>
                    <a:pt x="336792" y="496043"/>
                    <a:pt x="336792" y="493323"/>
                    <a:pt x="336792" y="490603"/>
                  </a:cubicBezTo>
                  <a:cubicBezTo>
                    <a:pt x="336792" y="479725"/>
                    <a:pt x="336792" y="477005"/>
                    <a:pt x="320474" y="477005"/>
                  </a:cubicBezTo>
                  <a:cubicBezTo>
                    <a:pt x="309595" y="477005"/>
                    <a:pt x="295997" y="479725"/>
                    <a:pt x="282399" y="479725"/>
                  </a:cubicBezTo>
                  <a:cubicBezTo>
                    <a:pt x="271520" y="479725"/>
                    <a:pt x="260642" y="479725"/>
                    <a:pt x="252483" y="474286"/>
                  </a:cubicBezTo>
                  <a:cubicBezTo>
                    <a:pt x="249763" y="471566"/>
                    <a:pt x="247044" y="468846"/>
                    <a:pt x="247044" y="466126"/>
                  </a:cubicBezTo>
                  <a:cubicBezTo>
                    <a:pt x="247044" y="463407"/>
                    <a:pt x="247044" y="460687"/>
                    <a:pt x="249763" y="457968"/>
                  </a:cubicBezTo>
                  <a:cubicBezTo>
                    <a:pt x="255202" y="452528"/>
                    <a:pt x="260642" y="449809"/>
                    <a:pt x="268801" y="447089"/>
                  </a:cubicBezTo>
                  <a:cubicBezTo>
                    <a:pt x="282399" y="441650"/>
                    <a:pt x="295997" y="438930"/>
                    <a:pt x="312315" y="436210"/>
                  </a:cubicBezTo>
                  <a:cubicBezTo>
                    <a:pt x="325914" y="433491"/>
                    <a:pt x="339512" y="433491"/>
                    <a:pt x="353110" y="430771"/>
                  </a:cubicBezTo>
                  <a:cubicBezTo>
                    <a:pt x="363989" y="430771"/>
                    <a:pt x="374867" y="430771"/>
                    <a:pt x="385746" y="430771"/>
                  </a:cubicBezTo>
                  <a:cubicBezTo>
                    <a:pt x="402064" y="430771"/>
                    <a:pt x="426541" y="428051"/>
                    <a:pt x="437420" y="428051"/>
                  </a:cubicBezTo>
                  <a:cubicBezTo>
                    <a:pt x="451018" y="422612"/>
                    <a:pt x="464616" y="425332"/>
                    <a:pt x="464616" y="436210"/>
                  </a:cubicBezTo>
                </a:path>
              </a:pathLst>
            </a:custGeom>
            <a:grpFill/>
            <a:ln w="27168"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06D55CE1-B268-4F16-A083-5F46B0032A63}"/>
                </a:ext>
              </a:extLst>
            </p:cNvPr>
            <p:cNvSpPr/>
            <p:nvPr/>
          </p:nvSpPr>
          <p:spPr>
            <a:xfrm>
              <a:off x="9053923" y="4178559"/>
              <a:ext cx="625521" cy="788700"/>
            </a:xfrm>
            <a:custGeom>
              <a:avLst/>
              <a:gdLst>
                <a:gd name="connsiteX0" fmla="*/ 536838 w 625521"/>
                <a:gd name="connsiteY0" fmla="*/ 680979 h 788699"/>
                <a:gd name="connsiteX1" fmla="*/ 574913 w 625521"/>
                <a:gd name="connsiteY1" fmla="*/ 697297 h 788699"/>
                <a:gd name="connsiteX2" fmla="*/ 566755 w 625521"/>
                <a:gd name="connsiteY2" fmla="*/ 713615 h 788699"/>
                <a:gd name="connsiteX3" fmla="*/ 550437 w 625521"/>
                <a:gd name="connsiteY3" fmla="*/ 721774 h 788699"/>
                <a:gd name="connsiteX4" fmla="*/ 528680 w 625521"/>
                <a:gd name="connsiteY4" fmla="*/ 724494 h 788699"/>
                <a:gd name="connsiteX5" fmla="*/ 417174 w 625521"/>
                <a:gd name="connsiteY5" fmla="*/ 724494 h 788699"/>
                <a:gd name="connsiteX6" fmla="*/ 398136 w 625521"/>
                <a:gd name="connsiteY6" fmla="*/ 724494 h 788699"/>
                <a:gd name="connsiteX7" fmla="*/ 373659 w 625521"/>
                <a:gd name="connsiteY7" fmla="*/ 724494 h 788699"/>
                <a:gd name="connsiteX8" fmla="*/ 346462 w 625521"/>
                <a:gd name="connsiteY8" fmla="*/ 719054 h 788699"/>
                <a:gd name="connsiteX9" fmla="*/ 330144 w 625521"/>
                <a:gd name="connsiteY9" fmla="*/ 702737 h 788699"/>
                <a:gd name="connsiteX10" fmla="*/ 335584 w 625521"/>
                <a:gd name="connsiteY10" fmla="*/ 694578 h 788699"/>
                <a:gd name="connsiteX11" fmla="*/ 357341 w 625521"/>
                <a:gd name="connsiteY11" fmla="*/ 686419 h 788699"/>
                <a:gd name="connsiteX12" fmla="*/ 395416 w 625521"/>
                <a:gd name="connsiteY12" fmla="*/ 680979 h 788699"/>
                <a:gd name="connsiteX13" fmla="*/ 381817 w 625521"/>
                <a:gd name="connsiteY13" fmla="*/ 656502 h 788699"/>
                <a:gd name="connsiteX14" fmla="*/ 379098 w 625521"/>
                <a:gd name="connsiteY14" fmla="*/ 585791 h 788699"/>
                <a:gd name="connsiteX15" fmla="*/ 379098 w 625521"/>
                <a:gd name="connsiteY15" fmla="*/ 517800 h 788699"/>
                <a:gd name="connsiteX16" fmla="*/ 379098 w 625521"/>
                <a:gd name="connsiteY16" fmla="*/ 474286 h 788699"/>
                <a:gd name="connsiteX17" fmla="*/ 379098 w 625521"/>
                <a:gd name="connsiteY17" fmla="*/ 430771 h 788699"/>
                <a:gd name="connsiteX18" fmla="*/ 381817 w 625521"/>
                <a:gd name="connsiteY18" fmla="*/ 411733 h 788699"/>
                <a:gd name="connsiteX19" fmla="*/ 379098 w 625521"/>
                <a:gd name="connsiteY19" fmla="*/ 400855 h 788699"/>
                <a:gd name="connsiteX20" fmla="*/ 370939 w 625521"/>
                <a:gd name="connsiteY20" fmla="*/ 398135 h 788699"/>
                <a:gd name="connsiteX21" fmla="*/ 338304 w 625521"/>
                <a:gd name="connsiteY21" fmla="*/ 400855 h 788699"/>
                <a:gd name="connsiteX22" fmla="*/ 289349 w 625521"/>
                <a:gd name="connsiteY22" fmla="*/ 403575 h 788699"/>
                <a:gd name="connsiteX23" fmla="*/ 264872 w 625521"/>
                <a:gd name="connsiteY23" fmla="*/ 400855 h 788699"/>
                <a:gd name="connsiteX24" fmla="*/ 259433 w 625521"/>
                <a:gd name="connsiteY24" fmla="*/ 406294 h 788699"/>
                <a:gd name="connsiteX25" fmla="*/ 259433 w 625521"/>
                <a:gd name="connsiteY25" fmla="*/ 425332 h 788699"/>
                <a:gd name="connsiteX26" fmla="*/ 259433 w 625521"/>
                <a:gd name="connsiteY26" fmla="*/ 449809 h 788699"/>
                <a:gd name="connsiteX27" fmla="*/ 259433 w 625521"/>
                <a:gd name="connsiteY27" fmla="*/ 471566 h 788699"/>
                <a:gd name="connsiteX28" fmla="*/ 259433 w 625521"/>
                <a:gd name="connsiteY28" fmla="*/ 504202 h 788699"/>
                <a:gd name="connsiteX29" fmla="*/ 259433 w 625521"/>
                <a:gd name="connsiteY29" fmla="*/ 509641 h 788699"/>
                <a:gd name="connsiteX30" fmla="*/ 256714 w 625521"/>
                <a:gd name="connsiteY30" fmla="*/ 542277 h 788699"/>
                <a:gd name="connsiteX31" fmla="*/ 256714 w 625521"/>
                <a:gd name="connsiteY31" fmla="*/ 577632 h 788699"/>
                <a:gd name="connsiteX32" fmla="*/ 256714 w 625521"/>
                <a:gd name="connsiteY32" fmla="*/ 612988 h 788699"/>
                <a:gd name="connsiteX33" fmla="*/ 253994 w 625521"/>
                <a:gd name="connsiteY33" fmla="*/ 656502 h 788699"/>
                <a:gd name="connsiteX34" fmla="*/ 256714 w 625521"/>
                <a:gd name="connsiteY34" fmla="*/ 678260 h 788699"/>
                <a:gd name="connsiteX35" fmla="*/ 286629 w 625521"/>
                <a:gd name="connsiteY35" fmla="*/ 694578 h 788699"/>
                <a:gd name="connsiteX36" fmla="*/ 281191 w 625521"/>
                <a:gd name="connsiteY36" fmla="*/ 710895 h 788699"/>
                <a:gd name="connsiteX37" fmla="*/ 264872 w 625521"/>
                <a:gd name="connsiteY37" fmla="*/ 719054 h 788699"/>
                <a:gd name="connsiteX38" fmla="*/ 243116 w 625521"/>
                <a:gd name="connsiteY38" fmla="*/ 721774 h 788699"/>
                <a:gd name="connsiteX39" fmla="*/ 243116 w 625521"/>
                <a:gd name="connsiteY39" fmla="*/ 721774 h 788699"/>
                <a:gd name="connsiteX40" fmla="*/ 232236 w 625521"/>
                <a:gd name="connsiteY40" fmla="*/ 727214 h 788699"/>
                <a:gd name="connsiteX41" fmla="*/ 224078 w 625521"/>
                <a:gd name="connsiteY41" fmla="*/ 735372 h 788699"/>
                <a:gd name="connsiteX42" fmla="*/ 213199 w 625521"/>
                <a:gd name="connsiteY42" fmla="*/ 738092 h 788699"/>
                <a:gd name="connsiteX43" fmla="*/ 183283 w 625521"/>
                <a:gd name="connsiteY43" fmla="*/ 727214 h 788699"/>
                <a:gd name="connsiteX44" fmla="*/ 175124 w 625521"/>
                <a:gd name="connsiteY44" fmla="*/ 719054 h 788699"/>
                <a:gd name="connsiteX45" fmla="*/ 145208 w 625521"/>
                <a:gd name="connsiteY45" fmla="*/ 719054 h 788699"/>
                <a:gd name="connsiteX46" fmla="*/ 126170 w 625521"/>
                <a:gd name="connsiteY46" fmla="*/ 719054 h 788699"/>
                <a:gd name="connsiteX47" fmla="*/ 101693 w 625521"/>
                <a:gd name="connsiteY47" fmla="*/ 719054 h 788699"/>
                <a:gd name="connsiteX48" fmla="*/ 74496 w 625521"/>
                <a:gd name="connsiteY48" fmla="*/ 713615 h 788699"/>
                <a:gd name="connsiteX49" fmla="*/ 58178 w 625521"/>
                <a:gd name="connsiteY49" fmla="*/ 697297 h 788699"/>
                <a:gd name="connsiteX50" fmla="*/ 63618 w 625521"/>
                <a:gd name="connsiteY50" fmla="*/ 689138 h 788699"/>
                <a:gd name="connsiteX51" fmla="*/ 85375 w 625521"/>
                <a:gd name="connsiteY51" fmla="*/ 680979 h 788699"/>
                <a:gd name="connsiteX52" fmla="*/ 131609 w 625521"/>
                <a:gd name="connsiteY52" fmla="*/ 675540 h 788699"/>
                <a:gd name="connsiteX53" fmla="*/ 131609 w 625521"/>
                <a:gd name="connsiteY53" fmla="*/ 667381 h 788699"/>
                <a:gd name="connsiteX54" fmla="*/ 131609 w 625521"/>
                <a:gd name="connsiteY54" fmla="*/ 651063 h 788699"/>
                <a:gd name="connsiteX55" fmla="*/ 131609 w 625521"/>
                <a:gd name="connsiteY55" fmla="*/ 618427 h 788699"/>
                <a:gd name="connsiteX56" fmla="*/ 131609 w 625521"/>
                <a:gd name="connsiteY56" fmla="*/ 580352 h 788699"/>
                <a:gd name="connsiteX57" fmla="*/ 131609 w 625521"/>
                <a:gd name="connsiteY57" fmla="*/ 531398 h 788699"/>
                <a:gd name="connsiteX58" fmla="*/ 131609 w 625521"/>
                <a:gd name="connsiteY58" fmla="*/ 466126 h 788699"/>
                <a:gd name="connsiteX59" fmla="*/ 131609 w 625521"/>
                <a:gd name="connsiteY59" fmla="*/ 422612 h 788699"/>
                <a:gd name="connsiteX60" fmla="*/ 131609 w 625521"/>
                <a:gd name="connsiteY60" fmla="*/ 411733 h 788699"/>
                <a:gd name="connsiteX61" fmla="*/ 131609 w 625521"/>
                <a:gd name="connsiteY61" fmla="*/ 398135 h 788699"/>
                <a:gd name="connsiteX62" fmla="*/ 126170 w 625521"/>
                <a:gd name="connsiteY62" fmla="*/ 389976 h 788699"/>
                <a:gd name="connsiteX63" fmla="*/ 101693 w 625521"/>
                <a:gd name="connsiteY63" fmla="*/ 387257 h 788699"/>
                <a:gd name="connsiteX64" fmla="*/ 77216 w 625521"/>
                <a:gd name="connsiteY64" fmla="*/ 376378 h 788699"/>
                <a:gd name="connsiteX65" fmla="*/ 82655 w 625521"/>
                <a:gd name="connsiteY65" fmla="*/ 368219 h 788699"/>
                <a:gd name="connsiteX66" fmla="*/ 98973 w 625521"/>
                <a:gd name="connsiteY66" fmla="*/ 360060 h 788699"/>
                <a:gd name="connsiteX67" fmla="*/ 118011 w 625521"/>
                <a:gd name="connsiteY67" fmla="*/ 357340 h 788699"/>
                <a:gd name="connsiteX68" fmla="*/ 131609 w 625521"/>
                <a:gd name="connsiteY68" fmla="*/ 351901 h 788699"/>
                <a:gd name="connsiteX69" fmla="*/ 131609 w 625521"/>
                <a:gd name="connsiteY69" fmla="*/ 343742 h 788699"/>
                <a:gd name="connsiteX70" fmla="*/ 131609 w 625521"/>
                <a:gd name="connsiteY70" fmla="*/ 270311 h 788699"/>
                <a:gd name="connsiteX71" fmla="*/ 137048 w 625521"/>
                <a:gd name="connsiteY71" fmla="*/ 145207 h 788699"/>
                <a:gd name="connsiteX72" fmla="*/ 139768 w 625521"/>
                <a:gd name="connsiteY72" fmla="*/ 123450 h 788699"/>
                <a:gd name="connsiteX73" fmla="*/ 123450 w 625521"/>
                <a:gd name="connsiteY73" fmla="*/ 123450 h 788699"/>
                <a:gd name="connsiteX74" fmla="*/ 118011 w 625521"/>
                <a:gd name="connsiteY74" fmla="*/ 123450 h 788699"/>
                <a:gd name="connsiteX75" fmla="*/ 101693 w 625521"/>
                <a:gd name="connsiteY75" fmla="*/ 123450 h 788699"/>
                <a:gd name="connsiteX76" fmla="*/ 74496 w 625521"/>
                <a:gd name="connsiteY76" fmla="*/ 118011 h 788699"/>
                <a:gd name="connsiteX77" fmla="*/ 58178 w 625521"/>
                <a:gd name="connsiteY77" fmla="*/ 101693 h 788699"/>
                <a:gd name="connsiteX78" fmla="*/ 63618 w 625521"/>
                <a:gd name="connsiteY78" fmla="*/ 93534 h 788699"/>
                <a:gd name="connsiteX79" fmla="*/ 85375 w 625521"/>
                <a:gd name="connsiteY79" fmla="*/ 85375 h 788699"/>
                <a:gd name="connsiteX80" fmla="*/ 137048 w 625521"/>
                <a:gd name="connsiteY80" fmla="*/ 82655 h 788699"/>
                <a:gd name="connsiteX81" fmla="*/ 147927 w 625521"/>
                <a:gd name="connsiteY81" fmla="*/ 82655 h 788699"/>
                <a:gd name="connsiteX82" fmla="*/ 186003 w 625521"/>
                <a:gd name="connsiteY82" fmla="*/ 58178 h 788699"/>
                <a:gd name="connsiteX83" fmla="*/ 226797 w 625521"/>
                <a:gd name="connsiteY83" fmla="*/ 79936 h 788699"/>
                <a:gd name="connsiteX84" fmla="*/ 253994 w 625521"/>
                <a:gd name="connsiteY84" fmla="*/ 79936 h 788699"/>
                <a:gd name="connsiteX85" fmla="*/ 294789 w 625521"/>
                <a:gd name="connsiteY85" fmla="*/ 96253 h 788699"/>
                <a:gd name="connsiteX86" fmla="*/ 283910 w 625521"/>
                <a:gd name="connsiteY86" fmla="*/ 112571 h 788699"/>
                <a:gd name="connsiteX87" fmla="*/ 267592 w 625521"/>
                <a:gd name="connsiteY87" fmla="*/ 120730 h 788699"/>
                <a:gd name="connsiteX88" fmla="*/ 245835 w 625521"/>
                <a:gd name="connsiteY88" fmla="*/ 123450 h 788699"/>
                <a:gd name="connsiteX89" fmla="*/ 237676 w 625521"/>
                <a:gd name="connsiteY89" fmla="*/ 123450 h 788699"/>
                <a:gd name="connsiteX90" fmla="*/ 240396 w 625521"/>
                <a:gd name="connsiteY90" fmla="*/ 128889 h 788699"/>
                <a:gd name="connsiteX91" fmla="*/ 251274 w 625521"/>
                <a:gd name="connsiteY91" fmla="*/ 177843 h 788699"/>
                <a:gd name="connsiteX92" fmla="*/ 256714 w 625521"/>
                <a:gd name="connsiteY92" fmla="*/ 226797 h 788699"/>
                <a:gd name="connsiteX93" fmla="*/ 262153 w 625521"/>
                <a:gd name="connsiteY93" fmla="*/ 273031 h 788699"/>
                <a:gd name="connsiteX94" fmla="*/ 262153 w 625521"/>
                <a:gd name="connsiteY94" fmla="*/ 289349 h 788699"/>
                <a:gd name="connsiteX95" fmla="*/ 262153 w 625521"/>
                <a:gd name="connsiteY95" fmla="*/ 297508 h 788699"/>
                <a:gd name="connsiteX96" fmla="*/ 264872 w 625521"/>
                <a:gd name="connsiteY96" fmla="*/ 321985 h 788699"/>
                <a:gd name="connsiteX97" fmla="*/ 270312 w 625521"/>
                <a:gd name="connsiteY97" fmla="*/ 335583 h 788699"/>
                <a:gd name="connsiteX98" fmla="*/ 270312 w 625521"/>
                <a:gd name="connsiteY98" fmla="*/ 338303 h 788699"/>
                <a:gd name="connsiteX99" fmla="*/ 270312 w 625521"/>
                <a:gd name="connsiteY99" fmla="*/ 346462 h 788699"/>
                <a:gd name="connsiteX100" fmla="*/ 278471 w 625521"/>
                <a:gd name="connsiteY100" fmla="*/ 354621 h 788699"/>
                <a:gd name="connsiteX101" fmla="*/ 338304 w 625521"/>
                <a:gd name="connsiteY101" fmla="*/ 349181 h 788699"/>
                <a:gd name="connsiteX102" fmla="*/ 365500 w 625521"/>
                <a:gd name="connsiteY102" fmla="*/ 349181 h 788699"/>
                <a:gd name="connsiteX103" fmla="*/ 381817 w 625521"/>
                <a:gd name="connsiteY103" fmla="*/ 349181 h 788699"/>
                <a:gd name="connsiteX104" fmla="*/ 392697 w 625521"/>
                <a:gd name="connsiteY104" fmla="*/ 338303 h 788699"/>
                <a:gd name="connsiteX105" fmla="*/ 389977 w 625521"/>
                <a:gd name="connsiteY105" fmla="*/ 313826 h 788699"/>
                <a:gd name="connsiteX106" fmla="*/ 392697 w 625521"/>
                <a:gd name="connsiteY106" fmla="*/ 262152 h 788699"/>
                <a:gd name="connsiteX107" fmla="*/ 395416 w 625521"/>
                <a:gd name="connsiteY107" fmla="*/ 224077 h 788699"/>
                <a:gd name="connsiteX108" fmla="*/ 398136 w 625521"/>
                <a:gd name="connsiteY108" fmla="*/ 177843 h 788699"/>
                <a:gd name="connsiteX109" fmla="*/ 395416 w 625521"/>
                <a:gd name="connsiteY109" fmla="*/ 153366 h 788699"/>
                <a:gd name="connsiteX110" fmla="*/ 395416 w 625521"/>
                <a:gd name="connsiteY110" fmla="*/ 137048 h 788699"/>
                <a:gd name="connsiteX111" fmla="*/ 379098 w 625521"/>
                <a:gd name="connsiteY111" fmla="*/ 137048 h 788699"/>
                <a:gd name="connsiteX112" fmla="*/ 351902 w 625521"/>
                <a:gd name="connsiteY112" fmla="*/ 131609 h 788699"/>
                <a:gd name="connsiteX113" fmla="*/ 338304 w 625521"/>
                <a:gd name="connsiteY113" fmla="*/ 115291 h 788699"/>
                <a:gd name="connsiteX114" fmla="*/ 343742 w 625521"/>
                <a:gd name="connsiteY114" fmla="*/ 107132 h 788699"/>
                <a:gd name="connsiteX115" fmla="*/ 362780 w 625521"/>
                <a:gd name="connsiteY115" fmla="*/ 98973 h 788699"/>
                <a:gd name="connsiteX116" fmla="*/ 395416 w 625521"/>
                <a:gd name="connsiteY116" fmla="*/ 96253 h 788699"/>
                <a:gd name="connsiteX117" fmla="*/ 403575 w 625521"/>
                <a:gd name="connsiteY117" fmla="*/ 90814 h 788699"/>
                <a:gd name="connsiteX118" fmla="*/ 422612 w 625521"/>
                <a:gd name="connsiteY118" fmla="*/ 88095 h 788699"/>
                <a:gd name="connsiteX119" fmla="*/ 428052 w 625521"/>
                <a:gd name="connsiteY119" fmla="*/ 88095 h 788699"/>
                <a:gd name="connsiteX120" fmla="*/ 447090 w 625521"/>
                <a:gd name="connsiteY120" fmla="*/ 90814 h 788699"/>
                <a:gd name="connsiteX121" fmla="*/ 455249 w 625521"/>
                <a:gd name="connsiteY121" fmla="*/ 96253 h 788699"/>
                <a:gd name="connsiteX122" fmla="*/ 525960 w 625521"/>
                <a:gd name="connsiteY122" fmla="*/ 93534 h 788699"/>
                <a:gd name="connsiteX123" fmla="*/ 561315 w 625521"/>
                <a:gd name="connsiteY123" fmla="*/ 109852 h 788699"/>
                <a:gd name="connsiteX124" fmla="*/ 555876 w 625521"/>
                <a:gd name="connsiteY124" fmla="*/ 126170 h 788699"/>
                <a:gd name="connsiteX125" fmla="*/ 539558 w 625521"/>
                <a:gd name="connsiteY125" fmla="*/ 134329 h 788699"/>
                <a:gd name="connsiteX126" fmla="*/ 517800 w 625521"/>
                <a:gd name="connsiteY126" fmla="*/ 137048 h 788699"/>
                <a:gd name="connsiteX127" fmla="*/ 477006 w 625521"/>
                <a:gd name="connsiteY127" fmla="*/ 137048 h 788699"/>
                <a:gd name="connsiteX128" fmla="*/ 485165 w 625521"/>
                <a:gd name="connsiteY128" fmla="*/ 161525 h 788699"/>
                <a:gd name="connsiteX129" fmla="*/ 496043 w 625521"/>
                <a:gd name="connsiteY129" fmla="*/ 210479 h 788699"/>
                <a:gd name="connsiteX130" fmla="*/ 501483 w 625521"/>
                <a:gd name="connsiteY130" fmla="*/ 251274 h 788699"/>
                <a:gd name="connsiteX131" fmla="*/ 506922 w 625521"/>
                <a:gd name="connsiteY131" fmla="*/ 292069 h 788699"/>
                <a:gd name="connsiteX132" fmla="*/ 506922 w 625521"/>
                <a:gd name="connsiteY132" fmla="*/ 321985 h 788699"/>
                <a:gd name="connsiteX133" fmla="*/ 509642 w 625521"/>
                <a:gd name="connsiteY133" fmla="*/ 341022 h 788699"/>
                <a:gd name="connsiteX134" fmla="*/ 509642 w 625521"/>
                <a:gd name="connsiteY134" fmla="*/ 343742 h 788699"/>
                <a:gd name="connsiteX135" fmla="*/ 517800 w 625521"/>
                <a:gd name="connsiteY135" fmla="*/ 349181 h 788699"/>
                <a:gd name="connsiteX136" fmla="*/ 528680 w 625521"/>
                <a:gd name="connsiteY136" fmla="*/ 349181 h 788699"/>
                <a:gd name="connsiteX137" fmla="*/ 550437 w 625521"/>
                <a:gd name="connsiteY137" fmla="*/ 357340 h 788699"/>
                <a:gd name="connsiteX138" fmla="*/ 550437 w 625521"/>
                <a:gd name="connsiteY138" fmla="*/ 362780 h 788699"/>
                <a:gd name="connsiteX139" fmla="*/ 534119 w 625521"/>
                <a:gd name="connsiteY139" fmla="*/ 384537 h 788699"/>
                <a:gd name="connsiteX140" fmla="*/ 520520 w 625521"/>
                <a:gd name="connsiteY140" fmla="*/ 389976 h 788699"/>
                <a:gd name="connsiteX141" fmla="*/ 512362 w 625521"/>
                <a:gd name="connsiteY141" fmla="*/ 395415 h 788699"/>
                <a:gd name="connsiteX142" fmla="*/ 512362 w 625521"/>
                <a:gd name="connsiteY142" fmla="*/ 398135 h 788699"/>
                <a:gd name="connsiteX143" fmla="*/ 512362 w 625521"/>
                <a:gd name="connsiteY143" fmla="*/ 409014 h 788699"/>
                <a:gd name="connsiteX144" fmla="*/ 512362 w 625521"/>
                <a:gd name="connsiteY144" fmla="*/ 414453 h 788699"/>
                <a:gd name="connsiteX145" fmla="*/ 512362 w 625521"/>
                <a:gd name="connsiteY145" fmla="*/ 438930 h 788699"/>
                <a:gd name="connsiteX146" fmla="*/ 515081 w 625521"/>
                <a:gd name="connsiteY146" fmla="*/ 504202 h 788699"/>
                <a:gd name="connsiteX147" fmla="*/ 520520 w 625521"/>
                <a:gd name="connsiteY147" fmla="*/ 572193 h 788699"/>
                <a:gd name="connsiteX148" fmla="*/ 517800 w 625521"/>
                <a:gd name="connsiteY148" fmla="*/ 604829 h 788699"/>
                <a:gd name="connsiteX149" fmla="*/ 512362 w 625521"/>
                <a:gd name="connsiteY149" fmla="*/ 661942 h 788699"/>
                <a:gd name="connsiteX150" fmla="*/ 509642 w 625521"/>
                <a:gd name="connsiteY150" fmla="*/ 670101 h 788699"/>
                <a:gd name="connsiteX151" fmla="*/ 512362 w 625521"/>
                <a:gd name="connsiteY151" fmla="*/ 680979 h 788699"/>
                <a:gd name="connsiteX152" fmla="*/ 512362 w 625521"/>
                <a:gd name="connsiteY152" fmla="*/ 686419 h 788699"/>
                <a:gd name="connsiteX153" fmla="*/ 536838 w 625521"/>
                <a:gd name="connsiteY153" fmla="*/ 680979 h 788699"/>
                <a:gd name="connsiteX154" fmla="*/ 536838 w 625521"/>
                <a:gd name="connsiteY154" fmla="*/ 680979 h 78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625521" h="788699">
                  <a:moveTo>
                    <a:pt x="536838" y="680979"/>
                  </a:moveTo>
                  <a:cubicBezTo>
                    <a:pt x="550437" y="680979"/>
                    <a:pt x="574913" y="680979"/>
                    <a:pt x="574913" y="697297"/>
                  </a:cubicBezTo>
                  <a:cubicBezTo>
                    <a:pt x="574913" y="705456"/>
                    <a:pt x="572194" y="708176"/>
                    <a:pt x="566755" y="713615"/>
                  </a:cubicBezTo>
                  <a:cubicBezTo>
                    <a:pt x="561315" y="719054"/>
                    <a:pt x="555876" y="721774"/>
                    <a:pt x="550437" y="721774"/>
                  </a:cubicBezTo>
                  <a:cubicBezTo>
                    <a:pt x="539558" y="724494"/>
                    <a:pt x="534119" y="724494"/>
                    <a:pt x="528680" y="724494"/>
                  </a:cubicBezTo>
                  <a:cubicBezTo>
                    <a:pt x="517800" y="724494"/>
                    <a:pt x="428052" y="724494"/>
                    <a:pt x="417174" y="724494"/>
                  </a:cubicBezTo>
                  <a:cubicBezTo>
                    <a:pt x="403575" y="724494"/>
                    <a:pt x="414454" y="724494"/>
                    <a:pt x="398136" y="724494"/>
                  </a:cubicBezTo>
                  <a:cubicBezTo>
                    <a:pt x="389977" y="724494"/>
                    <a:pt x="381817" y="724494"/>
                    <a:pt x="373659" y="724494"/>
                  </a:cubicBezTo>
                  <a:cubicBezTo>
                    <a:pt x="365500" y="724494"/>
                    <a:pt x="354621" y="721774"/>
                    <a:pt x="346462" y="719054"/>
                  </a:cubicBezTo>
                  <a:cubicBezTo>
                    <a:pt x="338304" y="716335"/>
                    <a:pt x="330144" y="708176"/>
                    <a:pt x="330144" y="702737"/>
                  </a:cubicBezTo>
                  <a:cubicBezTo>
                    <a:pt x="330144" y="700017"/>
                    <a:pt x="330144" y="697297"/>
                    <a:pt x="335584" y="694578"/>
                  </a:cubicBezTo>
                  <a:cubicBezTo>
                    <a:pt x="341023" y="691858"/>
                    <a:pt x="351902" y="689138"/>
                    <a:pt x="357341" y="686419"/>
                  </a:cubicBezTo>
                  <a:cubicBezTo>
                    <a:pt x="373659" y="683699"/>
                    <a:pt x="387257" y="680979"/>
                    <a:pt x="395416" y="680979"/>
                  </a:cubicBezTo>
                  <a:cubicBezTo>
                    <a:pt x="387257" y="675540"/>
                    <a:pt x="384537" y="670101"/>
                    <a:pt x="381817" y="656502"/>
                  </a:cubicBezTo>
                  <a:cubicBezTo>
                    <a:pt x="379098" y="632026"/>
                    <a:pt x="379098" y="610268"/>
                    <a:pt x="379098" y="585791"/>
                  </a:cubicBezTo>
                  <a:cubicBezTo>
                    <a:pt x="379098" y="564034"/>
                    <a:pt x="379098" y="542277"/>
                    <a:pt x="379098" y="517800"/>
                  </a:cubicBezTo>
                  <a:cubicBezTo>
                    <a:pt x="379098" y="504202"/>
                    <a:pt x="379098" y="487884"/>
                    <a:pt x="379098" y="474286"/>
                  </a:cubicBezTo>
                  <a:cubicBezTo>
                    <a:pt x="379098" y="457968"/>
                    <a:pt x="376379" y="444369"/>
                    <a:pt x="379098" y="430771"/>
                  </a:cubicBezTo>
                  <a:cubicBezTo>
                    <a:pt x="379098" y="425332"/>
                    <a:pt x="381817" y="417173"/>
                    <a:pt x="381817" y="411733"/>
                  </a:cubicBezTo>
                  <a:cubicBezTo>
                    <a:pt x="381817" y="406294"/>
                    <a:pt x="381817" y="403575"/>
                    <a:pt x="379098" y="400855"/>
                  </a:cubicBezTo>
                  <a:cubicBezTo>
                    <a:pt x="376379" y="400855"/>
                    <a:pt x="373659" y="398135"/>
                    <a:pt x="370939" y="398135"/>
                  </a:cubicBezTo>
                  <a:cubicBezTo>
                    <a:pt x="360061" y="398135"/>
                    <a:pt x="343742" y="400855"/>
                    <a:pt x="338304" y="400855"/>
                  </a:cubicBezTo>
                  <a:cubicBezTo>
                    <a:pt x="330144" y="400855"/>
                    <a:pt x="319266" y="403575"/>
                    <a:pt x="289349" y="403575"/>
                  </a:cubicBezTo>
                  <a:cubicBezTo>
                    <a:pt x="275751" y="403575"/>
                    <a:pt x="267592" y="400855"/>
                    <a:pt x="264872" y="400855"/>
                  </a:cubicBezTo>
                  <a:cubicBezTo>
                    <a:pt x="262153" y="400855"/>
                    <a:pt x="259433" y="400855"/>
                    <a:pt x="259433" y="406294"/>
                  </a:cubicBezTo>
                  <a:cubicBezTo>
                    <a:pt x="259433" y="414453"/>
                    <a:pt x="259433" y="419892"/>
                    <a:pt x="259433" y="425332"/>
                  </a:cubicBezTo>
                  <a:cubicBezTo>
                    <a:pt x="259433" y="433491"/>
                    <a:pt x="259433" y="441650"/>
                    <a:pt x="259433" y="449809"/>
                  </a:cubicBezTo>
                  <a:cubicBezTo>
                    <a:pt x="259433" y="457968"/>
                    <a:pt x="259433" y="463407"/>
                    <a:pt x="259433" y="471566"/>
                  </a:cubicBezTo>
                  <a:cubicBezTo>
                    <a:pt x="259433" y="482445"/>
                    <a:pt x="259433" y="493323"/>
                    <a:pt x="259433" y="504202"/>
                  </a:cubicBezTo>
                  <a:cubicBezTo>
                    <a:pt x="259433" y="506921"/>
                    <a:pt x="259433" y="506921"/>
                    <a:pt x="259433" y="509641"/>
                  </a:cubicBezTo>
                  <a:cubicBezTo>
                    <a:pt x="259433" y="520520"/>
                    <a:pt x="256714" y="531398"/>
                    <a:pt x="256714" y="542277"/>
                  </a:cubicBezTo>
                  <a:cubicBezTo>
                    <a:pt x="256714" y="553156"/>
                    <a:pt x="256714" y="566754"/>
                    <a:pt x="256714" y="577632"/>
                  </a:cubicBezTo>
                  <a:cubicBezTo>
                    <a:pt x="256714" y="588511"/>
                    <a:pt x="256714" y="599390"/>
                    <a:pt x="256714" y="612988"/>
                  </a:cubicBezTo>
                  <a:cubicBezTo>
                    <a:pt x="256714" y="629306"/>
                    <a:pt x="253994" y="642904"/>
                    <a:pt x="253994" y="656502"/>
                  </a:cubicBezTo>
                  <a:cubicBezTo>
                    <a:pt x="253994" y="664661"/>
                    <a:pt x="256714" y="672820"/>
                    <a:pt x="256714" y="678260"/>
                  </a:cubicBezTo>
                  <a:cubicBezTo>
                    <a:pt x="270312" y="678260"/>
                    <a:pt x="286629" y="680979"/>
                    <a:pt x="286629" y="694578"/>
                  </a:cubicBezTo>
                  <a:cubicBezTo>
                    <a:pt x="286629" y="702737"/>
                    <a:pt x="283910" y="705456"/>
                    <a:pt x="281191" y="710895"/>
                  </a:cubicBezTo>
                  <a:cubicBezTo>
                    <a:pt x="275751" y="716335"/>
                    <a:pt x="270312" y="719054"/>
                    <a:pt x="264872" y="719054"/>
                  </a:cubicBezTo>
                  <a:cubicBezTo>
                    <a:pt x="256714" y="721774"/>
                    <a:pt x="248554" y="721774"/>
                    <a:pt x="243116" y="721774"/>
                  </a:cubicBezTo>
                  <a:cubicBezTo>
                    <a:pt x="243116" y="721774"/>
                    <a:pt x="243116" y="721774"/>
                    <a:pt x="243116" y="721774"/>
                  </a:cubicBezTo>
                  <a:cubicBezTo>
                    <a:pt x="237676" y="724494"/>
                    <a:pt x="237676" y="724494"/>
                    <a:pt x="232236" y="727214"/>
                  </a:cubicBezTo>
                  <a:cubicBezTo>
                    <a:pt x="229517" y="729933"/>
                    <a:pt x="229517" y="732653"/>
                    <a:pt x="224078" y="735372"/>
                  </a:cubicBezTo>
                  <a:cubicBezTo>
                    <a:pt x="221358" y="738092"/>
                    <a:pt x="215919" y="738092"/>
                    <a:pt x="213199" y="738092"/>
                  </a:cubicBezTo>
                  <a:cubicBezTo>
                    <a:pt x="199601" y="738092"/>
                    <a:pt x="188722" y="735372"/>
                    <a:pt x="183283" y="727214"/>
                  </a:cubicBezTo>
                  <a:cubicBezTo>
                    <a:pt x="180563" y="724494"/>
                    <a:pt x="177843" y="721774"/>
                    <a:pt x="175124" y="719054"/>
                  </a:cubicBezTo>
                  <a:cubicBezTo>
                    <a:pt x="161526" y="719054"/>
                    <a:pt x="150646" y="719054"/>
                    <a:pt x="145208" y="719054"/>
                  </a:cubicBezTo>
                  <a:cubicBezTo>
                    <a:pt x="131609" y="719054"/>
                    <a:pt x="142488" y="719054"/>
                    <a:pt x="126170" y="719054"/>
                  </a:cubicBezTo>
                  <a:cubicBezTo>
                    <a:pt x="118011" y="719054"/>
                    <a:pt x="109852" y="719054"/>
                    <a:pt x="101693" y="719054"/>
                  </a:cubicBezTo>
                  <a:cubicBezTo>
                    <a:pt x="93534" y="719054"/>
                    <a:pt x="82655" y="719054"/>
                    <a:pt x="74496" y="713615"/>
                  </a:cubicBezTo>
                  <a:cubicBezTo>
                    <a:pt x="66338" y="710895"/>
                    <a:pt x="58178" y="702737"/>
                    <a:pt x="58178" y="697297"/>
                  </a:cubicBezTo>
                  <a:cubicBezTo>
                    <a:pt x="58178" y="694578"/>
                    <a:pt x="58178" y="691858"/>
                    <a:pt x="63618" y="689138"/>
                  </a:cubicBezTo>
                  <a:cubicBezTo>
                    <a:pt x="69057" y="686419"/>
                    <a:pt x="79936" y="683699"/>
                    <a:pt x="85375" y="680979"/>
                  </a:cubicBezTo>
                  <a:cubicBezTo>
                    <a:pt x="98973" y="678260"/>
                    <a:pt x="118011" y="678260"/>
                    <a:pt x="131609" y="675540"/>
                  </a:cubicBezTo>
                  <a:cubicBezTo>
                    <a:pt x="131609" y="672820"/>
                    <a:pt x="131609" y="670101"/>
                    <a:pt x="131609" y="667381"/>
                  </a:cubicBezTo>
                  <a:cubicBezTo>
                    <a:pt x="131609" y="661942"/>
                    <a:pt x="131609" y="656502"/>
                    <a:pt x="131609" y="651063"/>
                  </a:cubicBezTo>
                  <a:cubicBezTo>
                    <a:pt x="131609" y="640184"/>
                    <a:pt x="131609" y="629306"/>
                    <a:pt x="131609" y="618427"/>
                  </a:cubicBezTo>
                  <a:cubicBezTo>
                    <a:pt x="131609" y="604829"/>
                    <a:pt x="131609" y="593950"/>
                    <a:pt x="131609" y="580352"/>
                  </a:cubicBezTo>
                  <a:cubicBezTo>
                    <a:pt x="131609" y="564034"/>
                    <a:pt x="131609" y="547716"/>
                    <a:pt x="131609" y="531398"/>
                  </a:cubicBezTo>
                  <a:cubicBezTo>
                    <a:pt x="131609" y="509641"/>
                    <a:pt x="131609" y="487884"/>
                    <a:pt x="131609" y="466126"/>
                  </a:cubicBezTo>
                  <a:cubicBezTo>
                    <a:pt x="131609" y="452528"/>
                    <a:pt x="131609" y="436210"/>
                    <a:pt x="131609" y="422612"/>
                  </a:cubicBezTo>
                  <a:cubicBezTo>
                    <a:pt x="131609" y="419892"/>
                    <a:pt x="131609" y="414453"/>
                    <a:pt x="131609" y="411733"/>
                  </a:cubicBezTo>
                  <a:cubicBezTo>
                    <a:pt x="131609" y="409014"/>
                    <a:pt x="131609" y="400855"/>
                    <a:pt x="131609" y="398135"/>
                  </a:cubicBezTo>
                  <a:cubicBezTo>
                    <a:pt x="131609" y="392696"/>
                    <a:pt x="131609" y="392696"/>
                    <a:pt x="126170" y="389976"/>
                  </a:cubicBezTo>
                  <a:cubicBezTo>
                    <a:pt x="123450" y="389976"/>
                    <a:pt x="109852" y="387257"/>
                    <a:pt x="101693" y="387257"/>
                  </a:cubicBezTo>
                  <a:cubicBezTo>
                    <a:pt x="90814" y="384537"/>
                    <a:pt x="77216" y="381817"/>
                    <a:pt x="77216" y="376378"/>
                  </a:cubicBezTo>
                  <a:cubicBezTo>
                    <a:pt x="77216" y="373658"/>
                    <a:pt x="79936" y="370939"/>
                    <a:pt x="82655" y="368219"/>
                  </a:cubicBezTo>
                  <a:cubicBezTo>
                    <a:pt x="88095" y="365499"/>
                    <a:pt x="93534" y="362780"/>
                    <a:pt x="98973" y="360060"/>
                  </a:cubicBezTo>
                  <a:cubicBezTo>
                    <a:pt x="104413" y="360060"/>
                    <a:pt x="112571" y="357340"/>
                    <a:pt x="118011" y="357340"/>
                  </a:cubicBezTo>
                  <a:cubicBezTo>
                    <a:pt x="126170" y="354621"/>
                    <a:pt x="128890" y="357340"/>
                    <a:pt x="131609" y="351901"/>
                  </a:cubicBezTo>
                  <a:cubicBezTo>
                    <a:pt x="131609" y="349181"/>
                    <a:pt x="131609" y="346462"/>
                    <a:pt x="131609" y="343742"/>
                  </a:cubicBezTo>
                  <a:cubicBezTo>
                    <a:pt x="131609" y="319265"/>
                    <a:pt x="131609" y="294788"/>
                    <a:pt x="131609" y="270311"/>
                  </a:cubicBezTo>
                  <a:cubicBezTo>
                    <a:pt x="131609" y="226797"/>
                    <a:pt x="131609" y="186002"/>
                    <a:pt x="137048" y="145207"/>
                  </a:cubicBezTo>
                  <a:cubicBezTo>
                    <a:pt x="137048" y="139768"/>
                    <a:pt x="137048" y="131609"/>
                    <a:pt x="139768" y="123450"/>
                  </a:cubicBezTo>
                  <a:cubicBezTo>
                    <a:pt x="134329" y="123450"/>
                    <a:pt x="137048" y="123450"/>
                    <a:pt x="123450" y="123450"/>
                  </a:cubicBezTo>
                  <a:cubicBezTo>
                    <a:pt x="120731" y="123450"/>
                    <a:pt x="120731" y="123450"/>
                    <a:pt x="118011" y="123450"/>
                  </a:cubicBezTo>
                  <a:cubicBezTo>
                    <a:pt x="112571" y="123450"/>
                    <a:pt x="107133" y="123450"/>
                    <a:pt x="101693" y="123450"/>
                  </a:cubicBezTo>
                  <a:cubicBezTo>
                    <a:pt x="93534" y="123450"/>
                    <a:pt x="82655" y="120730"/>
                    <a:pt x="74496" y="118011"/>
                  </a:cubicBezTo>
                  <a:cubicBezTo>
                    <a:pt x="66338" y="115291"/>
                    <a:pt x="58178" y="107132"/>
                    <a:pt x="58178" y="101693"/>
                  </a:cubicBezTo>
                  <a:cubicBezTo>
                    <a:pt x="58178" y="98973"/>
                    <a:pt x="58178" y="96253"/>
                    <a:pt x="63618" y="93534"/>
                  </a:cubicBezTo>
                  <a:cubicBezTo>
                    <a:pt x="66338" y="90814"/>
                    <a:pt x="77216" y="88095"/>
                    <a:pt x="85375" y="85375"/>
                  </a:cubicBezTo>
                  <a:cubicBezTo>
                    <a:pt x="104413" y="82655"/>
                    <a:pt x="128890" y="82655"/>
                    <a:pt x="137048" y="82655"/>
                  </a:cubicBezTo>
                  <a:cubicBezTo>
                    <a:pt x="139768" y="82655"/>
                    <a:pt x="142488" y="82655"/>
                    <a:pt x="147927" y="82655"/>
                  </a:cubicBezTo>
                  <a:cubicBezTo>
                    <a:pt x="153366" y="69057"/>
                    <a:pt x="164245" y="58178"/>
                    <a:pt x="186003" y="58178"/>
                  </a:cubicBezTo>
                  <a:cubicBezTo>
                    <a:pt x="202321" y="58178"/>
                    <a:pt x="215919" y="66337"/>
                    <a:pt x="226797" y="79936"/>
                  </a:cubicBezTo>
                  <a:cubicBezTo>
                    <a:pt x="237676" y="79936"/>
                    <a:pt x="248554" y="79936"/>
                    <a:pt x="253994" y="79936"/>
                  </a:cubicBezTo>
                  <a:cubicBezTo>
                    <a:pt x="267592" y="79936"/>
                    <a:pt x="294789" y="79936"/>
                    <a:pt x="294789" y="96253"/>
                  </a:cubicBezTo>
                  <a:cubicBezTo>
                    <a:pt x="294789" y="104412"/>
                    <a:pt x="289349" y="107132"/>
                    <a:pt x="283910" y="112571"/>
                  </a:cubicBezTo>
                  <a:cubicBezTo>
                    <a:pt x="278471" y="118011"/>
                    <a:pt x="273031" y="120730"/>
                    <a:pt x="267592" y="120730"/>
                  </a:cubicBezTo>
                  <a:cubicBezTo>
                    <a:pt x="259433" y="123450"/>
                    <a:pt x="251274" y="123450"/>
                    <a:pt x="245835" y="123450"/>
                  </a:cubicBezTo>
                  <a:cubicBezTo>
                    <a:pt x="245835" y="123450"/>
                    <a:pt x="243116" y="123450"/>
                    <a:pt x="237676" y="123450"/>
                  </a:cubicBezTo>
                  <a:cubicBezTo>
                    <a:pt x="237676" y="126170"/>
                    <a:pt x="237676" y="126170"/>
                    <a:pt x="240396" y="128889"/>
                  </a:cubicBezTo>
                  <a:cubicBezTo>
                    <a:pt x="245835" y="145207"/>
                    <a:pt x="248554" y="161525"/>
                    <a:pt x="251274" y="177843"/>
                  </a:cubicBezTo>
                  <a:cubicBezTo>
                    <a:pt x="253994" y="194161"/>
                    <a:pt x="253994" y="210479"/>
                    <a:pt x="256714" y="226797"/>
                  </a:cubicBezTo>
                  <a:cubicBezTo>
                    <a:pt x="259433" y="243115"/>
                    <a:pt x="262153" y="256713"/>
                    <a:pt x="262153" y="273031"/>
                  </a:cubicBezTo>
                  <a:cubicBezTo>
                    <a:pt x="262153" y="278470"/>
                    <a:pt x="262153" y="283910"/>
                    <a:pt x="262153" y="289349"/>
                  </a:cubicBezTo>
                  <a:lnTo>
                    <a:pt x="262153" y="297508"/>
                  </a:lnTo>
                  <a:cubicBezTo>
                    <a:pt x="262153" y="305667"/>
                    <a:pt x="262153" y="313826"/>
                    <a:pt x="264872" y="321985"/>
                  </a:cubicBezTo>
                  <a:cubicBezTo>
                    <a:pt x="264872" y="327424"/>
                    <a:pt x="270312" y="330144"/>
                    <a:pt x="270312" y="335583"/>
                  </a:cubicBezTo>
                  <a:cubicBezTo>
                    <a:pt x="270312" y="335583"/>
                    <a:pt x="270312" y="338303"/>
                    <a:pt x="270312" y="338303"/>
                  </a:cubicBezTo>
                  <a:cubicBezTo>
                    <a:pt x="270312" y="341022"/>
                    <a:pt x="270312" y="343742"/>
                    <a:pt x="270312" y="346462"/>
                  </a:cubicBezTo>
                  <a:cubicBezTo>
                    <a:pt x="270312" y="351901"/>
                    <a:pt x="273031" y="354621"/>
                    <a:pt x="278471" y="354621"/>
                  </a:cubicBezTo>
                  <a:cubicBezTo>
                    <a:pt x="289349" y="354621"/>
                    <a:pt x="335584" y="351901"/>
                    <a:pt x="338304" y="349181"/>
                  </a:cubicBezTo>
                  <a:cubicBezTo>
                    <a:pt x="346462" y="349181"/>
                    <a:pt x="357341" y="349181"/>
                    <a:pt x="365500" y="349181"/>
                  </a:cubicBezTo>
                  <a:cubicBezTo>
                    <a:pt x="370939" y="349181"/>
                    <a:pt x="376379" y="349181"/>
                    <a:pt x="381817" y="349181"/>
                  </a:cubicBezTo>
                  <a:cubicBezTo>
                    <a:pt x="387257" y="349181"/>
                    <a:pt x="392697" y="346462"/>
                    <a:pt x="392697" y="338303"/>
                  </a:cubicBezTo>
                  <a:cubicBezTo>
                    <a:pt x="392697" y="330144"/>
                    <a:pt x="389977" y="316545"/>
                    <a:pt x="389977" y="313826"/>
                  </a:cubicBezTo>
                  <a:cubicBezTo>
                    <a:pt x="389977" y="294788"/>
                    <a:pt x="389977" y="278470"/>
                    <a:pt x="392697" y="262152"/>
                  </a:cubicBezTo>
                  <a:cubicBezTo>
                    <a:pt x="392697" y="259433"/>
                    <a:pt x="395416" y="243115"/>
                    <a:pt x="395416" y="224077"/>
                  </a:cubicBezTo>
                  <a:cubicBezTo>
                    <a:pt x="395416" y="207759"/>
                    <a:pt x="398136" y="188722"/>
                    <a:pt x="398136" y="177843"/>
                  </a:cubicBezTo>
                  <a:cubicBezTo>
                    <a:pt x="398136" y="169684"/>
                    <a:pt x="395416" y="158806"/>
                    <a:pt x="395416" y="153366"/>
                  </a:cubicBezTo>
                  <a:cubicBezTo>
                    <a:pt x="395416" y="145207"/>
                    <a:pt x="395416" y="142488"/>
                    <a:pt x="395416" y="137048"/>
                  </a:cubicBezTo>
                  <a:cubicBezTo>
                    <a:pt x="389977" y="137048"/>
                    <a:pt x="384537" y="137048"/>
                    <a:pt x="379098" y="137048"/>
                  </a:cubicBezTo>
                  <a:cubicBezTo>
                    <a:pt x="370939" y="137048"/>
                    <a:pt x="360061" y="134329"/>
                    <a:pt x="351902" y="131609"/>
                  </a:cubicBezTo>
                  <a:cubicBezTo>
                    <a:pt x="343742" y="128889"/>
                    <a:pt x="338304" y="120730"/>
                    <a:pt x="338304" y="115291"/>
                  </a:cubicBezTo>
                  <a:cubicBezTo>
                    <a:pt x="338304" y="112571"/>
                    <a:pt x="338304" y="109852"/>
                    <a:pt x="343742" y="107132"/>
                  </a:cubicBezTo>
                  <a:cubicBezTo>
                    <a:pt x="349182" y="104412"/>
                    <a:pt x="357341" y="101693"/>
                    <a:pt x="362780" y="98973"/>
                  </a:cubicBezTo>
                  <a:cubicBezTo>
                    <a:pt x="373659" y="96253"/>
                    <a:pt x="387257" y="96253"/>
                    <a:pt x="395416" y="96253"/>
                  </a:cubicBezTo>
                  <a:cubicBezTo>
                    <a:pt x="398136" y="93534"/>
                    <a:pt x="400855" y="90814"/>
                    <a:pt x="403575" y="90814"/>
                  </a:cubicBezTo>
                  <a:cubicBezTo>
                    <a:pt x="411734" y="90814"/>
                    <a:pt x="419893" y="88095"/>
                    <a:pt x="422612" y="88095"/>
                  </a:cubicBezTo>
                  <a:cubicBezTo>
                    <a:pt x="425332" y="88095"/>
                    <a:pt x="425332" y="88095"/>
                    <a:pt x="428052" y="88095"/>
                  </a:cubicBezTo>
                  <a:cubicBezTo>
                    <a:pt x="433492" y="88095"/>
                    <a:pt x="441650" y="88095"/>
                    <a:pt x="447090" y="90814"/>
                  </a:cubicBezTo>
                  <a:cubicBezTo>
                    <a:pt x="449809" y="90814"/>
                    <a:pt x="452529" y="93534"/>
                    <a:pt x="455249" y="96253"/>
                  </a:cubicBezTo>
                  <a:cubicBezTo>
                    <a:pt x="482445" y="96253"/>
                    <a:pt x="509642" y="93534"/>
                    <a:pt x="525960" y="93534"/>
                  </a:cubicBezTo>
                  <a:cubicBezTo>
                    <a:pt x="539558" y="93534"/>
                    <a:pt x="561315" y="93534"/>
                    <a:pt x="561315" y="109852"/>
                  </a:cubicBezTo>
                  <a:cubicBezTo>
                    <a:pt x="561315" y="118011"/>
                    <a:pt x="561315" y="120730"/>
                    <a:pt x="555876" y="126170"/>
                  </a:cubicBezTo>
                  <a:cubicBezTo>
                    <a:pt x="550437" y="131609"/>
                    <a:pt x="544997" y="134329"/>
                    <a:pt x="539558" y="134329"/>
                  </a:cubicBezTo>
                  <a:cubicBezTo>
                    <a:pt x="531399" y="137048"/>
                    <a:pt x="523240" y="137048"/>
                    <a:pt x="517800" y="137048"/>
                  </a:cubicBezTo>
                  <a:cubicBezTo>
                    <a:pt x="515081" y="137048"/>
                    <a:pt x="498763" y="137048"/>
                    <a:pt x="477006" y="137048"/>
                  </a:cubicBezTo>
                  <a:cubicBezTo>
                    <a:pt x="479725" y="145207"/>
                    <a:pt x="485165" y="153366"/>
                    <a:pt x="485165" y="161525"/>
                  </a:cubicBezTo>
                  <a:cubicBezTo>
                    <a:pt x="487885" y="177843"/>
                    <a:pt x="493324" y="194161"/>
                    <a:pt x="496043" y="210479"/>
                  </a:cubicBezTo>
                  <a:cubicBezTo>
                    <a:pt x="498763" y="224077"/>
                    <a:pt x="498763" y="237676"/>
                    <a:pt x="501483" y="251274"/>
                  </a:cubicBezTo>
                  <a:cubicBezTo>
                    <a:pt x="504202" y="264872"/>
                    <a:pt x="506922" y="275751"/>
                    <a:pt x="506922" y="292069"/>
                  </a:cubicBezTo>
                  <a:cubicBezTo>
                    <a:pt x="506922" y="302947"/>
                    <a:pt x="506922" y="311106"/>
                    <a:pt x="506922" y="321985"/>
                  </a:cubicBezTo>
                  <a:cubicBezTo>
                    <a:pt x="506922" y="327424"/>
                    <a:pt x="509642" y="335583"/>
                    <a:pt x="509642" y="341022"/>
                  </a:cubicBezTo>
                  <a:cubicBezTo>
                    <a:pt x="509642" y="343742"/>
                    <a:pt x="509642" y="343742"/>
                    <a:pt x="509642" y="343742"/>
                  </a:cubicBezTo>
                  <a:cubicBezTo>
                    <a:pt x="509642" y="349181"/>
                    <a:pt x="515081" y="349181"/>
                    <a:pt x="517800" y="349181"/>
                  </a:cubicBezTo>
                  <a:cubicBezTo>
                    <a:pt x="520520" y="349181"/>
                    <a:pt x="523240" y="349181"/>
                    <a:pt x="528680" y="349181"/>
                  </a:cubicBezTo>
                  <a:cubicBezTo>
                    <a:pt x="536838" y="349181"/>
                    <a:pt x="547717" y="349181"/>
                    <a:pt x="550437" y="357340"/>
                  </a:cubicBezTo>
                  <a:cubicBezTo>
                    <a:pt x="550437" y="360060"/>
                    <a:pt x="550437" y="360060"/>
                    <a:pt x="550437" y="362780"/>
                  </a:cubicBezTo>
                  <a:cubicBezTo>
                    <a:pt x="550437" y="370939"/>
                    <a:pt x="539558" y="381817"/>
                    <a:pt x="534119" y="384537"/>
                  </a:cubicBezTo>
                  <a:cubicBezTo>
                    <a:pt x="531399" y="387257"/>
                    <a:pt x="523240" y="387257"/>
                    <a:pt x="520520" y="389976"/>
                  </a:cubicBezTo>
                  <a:cubicBezTo>
                    <a:pt x="515081" y="389976"/>
                    <a:pt x="512362" y="392696"/>
                    <a:pt x="512362" y="395415"/>
                  </a:cubicBezTo>
                  <a:cubicBezTo>
                    <a:pt x="512362" y="395415"/>
                    <a:pt x="512362" y="398135"/>
                    <a:pt x="512362" y="398135"/>
                  </a:cubicBezTo>
                  <a:cubicBezTo>
                    <a:pt x="512362" y="400855"/>
                    <a:pt x="512362" y="406294"/>
                    <a:pt x="512362" y="409014"/>
                  </a:cubicBezTo>
                  <a:cubicBezTo>
                    <a:pt x="512362" y="411733"/>
                    <a:pt x="512362" y="411733"/>
                    <a:pt x="512362" y="414453"/>
                  </a:cubicBezTo>
                  <a:cubicBezTo>
                    <a:pt x="512362" y="422612"/>
                    <a:pt x="512362" y="430771"/>
                    <a:pt x="512362" y="438930"/>
                  </a:cubicBezTo>
                  <a:cubicBezTo>
                    <a:pt x="512362" y="460687"/>
                    <a:pt x="512362" y="482445"/>
                    <a:pt x="515081" y="504202"/>
                  </a:cubicBezTo>
                  <a:cubicBezTo>
                    <a:pt x="517800" y="525959"/>
                    <a:pt x="520520" y="550436"/>
                    <a:pt x="520520" y="572193"/>
                  </a:cubicBezTo>
                  <a:cubicBezTo>
                    <a:pt x="520520" y="583072"/>
                    <a:pt x="520520" y="593950"/>
                    <a:pt x="517800" y="604829"/>
                  </a:cubicBezTo>
                  <a:cubicBezTo>
                    <a:pt x="515081" y="623867"/>
                    <a:pt x="515081" y="642904"/>
                    <a:pt x="512362" y="661942"/>
                  </a:cubicBezTo>
                  <a:cubicBezTo>
                    <a:pt x="512362" y="664661"/>
                    <a:pt x="509642" y="667381"/>
                    <a:pt x="509642" y="670101"/>
                  </a:cubicBezTo>
                  <a:cubicBezTo>
                    <a:pt x="509642" y="672820"/>
                    <a:pt x="512362" y="678260"/>
                    <a:pt x="512362" y="680979"/>
                  </a:cubicBezTo>
                  <a:cubicBezTo>
                    <a:pt x="512362" y="683699"/>
                    <a:pt x="512362" y="686419"/>
                    <a:pt x="512362" y="686419"/>
                  </a:cubicBezTo>
                  <a:cubicBezTo>
                    <a:pt x="517800" y="680979"/>
                    <a:pt x="528680" y="680979"/>
                    <a:pt x="536838" y="680979"/>
                  </a:cubicBezTo>
                  <a:lnTo>
                    <a:pt x="536838" y="680979"/>
                  </a:lnTo>
                  <a:close/>
                </a:path>
              </a:pathLst>
            </a:custGeom>
            <a:grpFill/>
            <a:ln w="27168"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D41E12AF-0C66-45F8-8AC2-9C098178DCB2}"/>
                </a:ext>
              </a:extLst>
            </p:cNvPr>
            <p:cNvSpPr/>
            <p:nvPr/>
          </p:nvSpPr>
          <p:spPr>
            <a:xfrm>
              <a:off x="9592416" y="4192158"/>
              <a:ext cx="516735" cy="761503"/>
            </a:xfrm>
            <a:custGeom>
              <a:avLst/>
              <a:gdLst>
                <a:gd name="connsiteX0" fmla="*/ 463407 w 516735"/>
                <a:gd name="connsiteY0" fmla="*/ 194161 h 761503"/>
                <a:gd name="connsiteX1" fmla="*/ 447089 w 516735"/>
                <a:gd name="connsiteY1" fmla="*/ 226797 h 761503"/>
                <a:gd name="connsiteX2" fmla="*/ 430771 w 516735"/>
                <a:gd name="connsiteY2" fmla="*/ 221357 h 761503"/>
                <a:gd name="connsiteX3" fmla="*/ 422612 w 516735"/>
                <a:gd name="connsiteY3" fmla="*/ 207759 h 761503"/>
                <a:gd name="connsiteX4" fmla="*/ 419893 w 516735"/>
                <a:gd name="connsiteY4" fmla="*/ 188722 h 761503"/>
                <a:gd name="connsiteX5" fmla="*/ 419893 w 516735"/>
                <a:gd name="connsiteY5" fmla="*/ 139768 h 761503"/>
                <a:gd name="connsiteX6" fmla="*/ 419893 w 516735"/>
                <a:gd name="connsiteY6" fmla="*/ 120730 h 761503"/>
                <a:gd name="connsiteX7" fmla="*/ 395416 w 516735"/>
                <a:gd name="connsiteY7" fmla="*/ 120730 h 761503"/>
                <a:gd name="connsiteX8" fmla="*/ 370939 w 516735"/>
                <a:gd name="connsiteY8" fmla="*/ 120730 h 761503"/>
                <a:gd name="connsiteX9" fmla="*/ 346461 w 516735"/>
                <a:gd name="connsiteY9" fmla="*/ 123450 h 761503"/>
                <a:gd name="connsiteX10" fmla="*/ 335583 w 516735"/>
                <a:gd name="connsiteY10" fmla="*/ 123450 h 761503"/>
                <a:gd name="connsiteX11" fmla="*/ 335583 w 516735"/>
                <a:gd name="connsiteY11" fmla="*/ 123450 h 761503"/>
                <a:gd name="connsiteX12" fmla="*/ 324704 w 516735"/>
                <a:gd name="connsiteY12" fmla="*/ 128889 h 761503"/>
                <a:gd name="connsiteX13" fmla="*/ 327424 w 516735"/>
                <a:gd name="connsiteY13" fmla="*/ 139768 h 761503"/>
                <a:gd name="connsiteX14" fmla="*/ 330144 w 516735"/>
                <a:gd name="connsiteY14" fmla="*/ 175123 h 761503"/>
                <a:gd name="connsiteX15" fmla="*/ 330144 w 516735"/>
                <a:gd name="connsiteY15" fmla="*/ 199600 h 761503"/>
                <a:gd name="connsiteX16" fmla="*/ 327424 w 516735"/>
                <a:gd name="connsiteY16" fmla="*/ 224077 h 761503"/>
                <a:gd name="connsiteX17" fmla="*/ 330144 w 516735"/>
                <a:gd name="connsiteY17" fmla="*/ 251274 h 761503"/>
                <a:gd name="connsiteX18" fmla="*/ 327424 w 516735"/>
                <a:gd name="connsiteY18" fmla="*/ 278470 h 761503"/>
                <a:gd name="connsiteX19" fmla="*/ 327424 w 516735"/>
                <a:gd name="connsiteY19" fmla="*/ 332864 h 761503"/>
                <a:gd name="connsiteX20" fmla="*/ 330144 w 516735"/>
                <a:gd name="connsiteY20" fmla="*/ 357340 h 761503"/>
                <a:gd name="connsiteX21" fmla="*/ 330144 w 516735"/>
                <a:gd name="connsiteY21" fmla="*/ 368219 h 761503"/>
                <a:gd name="connsiteX22" fmla="*/ 332863 w 516735"/>
                <a:gd name="connsiteY22" fmla="*/ 387257 h 761503"/>
                <a:gd name="connsiteX23" fmla="*/ 332863 w 516735"/>
                <a:gd name="connsiteY23" fmla="*/ 433491 h 761503"/>
                <a:gd name="connsiteX24" fmla="*/ 332863 w 516735"/>
                <a:gd name="connsiteY24" fmla="*/ 487884 h 761503"/>
                <a:gd name="connsiteX25" fmla="*/ 330144 w 516735"/>
                <a:gd name="connsiteY25" fmla="*/ 512361 h 761503"/>
                <a:gd name="connsiteX26" fmla="*/ 330144 w 516735"/>
                <a:gd name="connsiteY26" fmla="*/ 539557 h 761503"/>
                <a:gd name="connsiteX27" fmla="*/ 332863 w 516735"/>
                <a:gd name="connsiteY27" fmla="*/ 593950 h 761503"/>
                <a:gd name="connsiteX28" fmla="*/ 332863 w 516735"/>
                <a:gd name="connsiteY28" fmla="*/ 648343 h 761503"/>
                <a:gd name="connsiteX29" fmla="*/ 332863 w 516735"/>
                <a:gd name="connsiteY29" fmla="*/ 656502 h 761503"/>
                <a:gd name="connsiteX30" fmla="*/ 357341 w 516735"/>
                <a:gd name="connsiteY30" fmla="*/ 656502 h 761503"/>
                <a:gd name="connsiteX31" fmla="*/ 395416 w 516735"/>
                <a:gd name="connsiteY31" fmla="*/ 675540 h 761503"/>
                <a:gd name="connsiteX32" fmla="*/ 389976 w 516735"/>
                <a:gd name="connsiteY32" fmla="*/ 691858 h 761503"/>
                <a:gd name="connsiteX33" fmla="*/ 373658 w 516735"/>
                <a:gd name="connsiteY33" fmla="*/ 700017 h 761503"/>
                <a:gd name="connsiteX34" fmla="*/ 351901 w 516735"/>
                <a:gd name="connsiteY34" fmla="*/ 702737 h 761503"/>
                <a:gd name="connsiteX35" fmla="*/ 319265 w 516735"/>
                <a:gd name="connsiteY35" fmla="*/ 702737 h 761503"/>
                <a:gd name="connsiteX36" fmla="*/ 311106 w 516735"/>
                <a:gd name="connsiteY36" fmla="*/ 708176 h 761503"/>
                <a:gd name="connsiteX37" fmla="*/ 289349 w 516735"/>
                <a:gd name="connsiteY37" fmla="*/ 713615 h 761503"/>
                <a:gd name="connsiteX38" fmla="*/ 270311 w 516735"/>
                <a:gd name="connsiteY38" fmla="*/ 713615 h 761503"/>
                <a:gd name="connsiteX39" fmla="*/ 243115 w 516735"/>
                <a:gd name="connsiteY39" fmla="*/ 705456 h 761503"/>
                <a:gd name="connsiteX40" fmla="*/ 237675 w 516735"/>
                <a:gd name="connsiteY40" fmla="*/ 702737 h 761503"/>
                <a:gd name="connsiteX41" fmla="*/ 199600 w 516735"/>
                <a:gd name="connsiteY41" fmla="*/ 702737 h 761503"/>
                <a:gd name="connsiteX42" fmla="*/ 175123 w 516735"/>
                <a:gd name="connsiteY42" fmla="*/ 702737 h 761503"/>
                <a:gd name="connsiteX43" fmla="*/ 147927 w 516735"/>
                <a:gd name="connsiteY43" fmla="*/ 697297 h 761503"/>
                <a:gd name="connsiteX44" fmla="*/ 131609 w 516735"/>
                <a:gd name="connsiteY44" fmla="*/ 678260 h 761503"/>
                <a:gd name="connsiteX45" fmla="*/ 137048 w 516735"/>
                <a:gd name="connsiteY45" fmla="*/ 670101 h 761503"/>
                <a:gd name="connsiteX46" fmla="*/ 158805 w 516735"/>
                <a:gd name="connsiteY46" fmla="*/ 661942 h 761503"/>
                <a:gd name="connsiteX47" fmla="*/ 199600 w 516735"/>
                <a:gd name="connsiteY47" fmla="*/ 659222 h 761503"/>
                <a:gd name="connsiteX48" fmla="*/ 199600 w 516735"/>
                <a:gd name="connsiteY48" fmla="*/ 659222 h 761503"/>
                <a:gd name="connsiteX49" fmla="*/ 196880 w 516735"/>
                <a:gd name="connsiteY49" fmla="*/ 629306 h 761503"/>
                <a:gd name="connsiteX50" fmla="*/ 199600 w 516735"/>
                <a:gd name="connsiteY50" fmla="*/ 574913 h 761503"/>
                <a:gd name="connsiteX51" fmla="*/ 202320 w 516735"/>
                <a:gd name="connsiteY51" fmla="*/ 523239 h 761503"/>
                <a:gd name="connsiteX52" fmla="*/ 205040 w 516735"/>
                <a:gd name="connsiteY52" fmla="*/ 460687 h 761503"/>
                <a:gd name="connsiteX53" fmla="*/ 205040 w 516735"/>
                <a:gd name="connsiteY53" fmla="*/ 417173 h 761503"/>
                <a:gd name="connsiteX54" fmla="*/ 207759 w 516735"/>
                <a:gd name="connsiteY54" fmla="*/ 392696 h 761503"/>
                <a:gd name="connsiteX55" fmla="*/ 210478 w 516735"/>
                <a:gd name="connsiteY55" fmla="*/ 368219 h 761503"/>
                <a:gd name="connsiteX56" fmla="*/ 210478 w 516735"/>
                <a:gd name="connsiteY56" fmla="*/ 313826 h 761503"/>
                <a:gd name="connsiteX57" fmla="*/ 210478 w 516735"/>
                <a:gd name="connsiteY57" fmla="*/ 259433 h 761503"/>
                <a:gd name="connsiteX58" fmla="*/ 210478 w 516735"/>
                <a:gd name="connsiteY58" fmla="*/ 213199 h 761503"/>
                <a:gd name="connsiteX59" fmla="*/ 210478 w 516735"/>
                <a:gd name="connsiteY59" fmla="*/ 145207 h 761503"/>
                <a:gd name="connsiteX60" fmla="*/ 213198 w 516735"/>
                <a:gd name="connsiteY60" fmla="*/ 131609 h 761503"/>
                <a:gd name="connsiteX61" fmla="*/ 205040 w 516735"/>
                <a:gd name="connsiteY61" fmla="*/ 123450 h 761503"/>
                <a:gd name="connsiteX62" fmla="*/ 161525 w 516735"/>
                <a:gd name="connsiteY62" fmla="*/ 123450 h 761503"/>
                <a:gd name="connsiteX63" fmla="*/ 112571 w 516735"/>
                <a:gd name="connsiteY63" fmla="*/ 120730 h 761503"/>
                <a:gd name="connsiteX64" fmla="*/ 104412 w 516735"/>
                <a:gd name="connsiteY64" fmla="*/ 118011 h 761503"/>
                <a:gd name="connsiteX65" fmla="*/ 107132 w 516735"/>
                <a:gd name="connsiteY65" fmla="*/ 191441 h 761503"/>
                <a:gd name="connsiteX66" fmla="*/ 90814 w 516735"/>
                <a:gd name="connsiteY66" fmla="*/ 224077 h 761503"/>
                <a:gd name="connsiteX67" fmla="*/ 74496 w 516735"/>
                <a:gd name="connsiteY67" fmla="*/ 218638 h 761503"/>
                <a:gd name="connsiteX68" fmla="*/ 66337 w 516735"/>
                <a:gd name="connsiteY68" fmla="*/ 205040 h 761503"/>
                <a:gd name="connsiteX69" fmla="*/ 63617 w 516735"/>
                <a:gd name="connsiteY69" fmla="*/ 186002 h 761503"/>
                <a:gd name="connsiteX70" fmla="*/ 63617 w 516735"/>
                <a:gd name="connsiteY70" fmla="*/ 145207 h 761503"/>
                <a:gd name="connsiteX71" fmla="*/ 63617 w 516735"/>
                <a:gd name="connsiteY71" fmla="*/ 109852 h 761503"/>
                <a:gd name="connsiteX72" fmla="*/ 58178 w 516735"/>
                <a:gd name="connsiteY72" fmla="*/ 96253 h 761503"/>
                <a:gd name="connsiteX73" fmla="*/ 66337 w 516735"/>
                <a:gd name="connsiteY73" fmla="*/ 85375 h 761503"/>
                <a:gd name="connsiteX74" fmla="*/ 93533 w 516735"/>
                <a:gd name="connsiteY74" fmla="*/ 77216 h 761503"/>
                <a:gd name="connsiteX75" fmla="*/ 115290 w 516735"/>
                <a:gd name="connsiteY75" fmla="*/ 77216 h 761503"/>
                <a:gd name="connsiteX76" fmla="*/ 169684 w 516735"/>
                <a:gd name="connsiteY76" fmla="*/ 74496 h 761503"/>
                <a:gd name="connsiteX77" fmla="*/ 194161 w 516735"/>
                <a:gd name="connsiteY77" fmla="*/ 71776 h 761503"/>
                <a:gd name="connsiteX78" fmla="*/ 196880 w 516735"/>
                <a:gd name="connsiteY78" fmla="*/ 71776 h 761503"/>
                <a:gd name="connsiteX79" fmla="*/ 210478 w 516735"/>
                <a:gd name="connsiteY79" fmla="*/ 71776 h 761503"/>
                <a:gd name="connsiteX80" fmla="*/ 218638 w 516735"/>
                <a:gd name="connsiteY80" fmla="*/ 71776 h 761503"/>
                <a:gd name="connsiteX81" fmla="*/ 237675 w 516735"/>
                <a:gd name="connsiteY81" fmla="*/ 60898 h 761503"/>
                <a:gd name="connsiteX82" fmla="*/ 253993 w 516735"/>
                <a:gd name="connsiteY82" fmla="*/ 58178 h 761503"/>
                <a:gd name="connsiteX83" fmla="*/ 283910 w 516735"/>
                <a:gd name="connsiteY83" fmla="*/ 60898 h 761503"/>
                <a:gd name="connsiteX84" fmla="*/ 294788 w 516735"/>
                <a:gd name="connsiteY84" fmla="*/ 66337 h 761503"/>
                <a:gd name="connsiteX85" fmla="*/ 305667 w 516735"/>
                <a:gd name="connsiteY85" fmla="*/ 74496 h 761503"/>
                <a:gd name="connsiteX86" fmla="*/ 313826 w 516735"/>
                <a:gd name="connsiteY86" fmla="*/ 74496 h 761503"/>
                <a:gd name="connsiteX87" fmla="*/ 327424 w 516735"/>
                <a:gd name="connsiteY87" fmla="*/ 74496 h 761503"/>
                <a:gd name="connsiteX88" fmla="*/ 354621 w 516735"/>
                <a:gd name="connsiteY88" fmla="*/ 74496 h 761503"/>
                <a:gd name="connsiteX89" fmla="*/ 422612 w 516735"/>
                <a:gd name="connsiteY89" fmla="*/ 74496 h 761503"/>
                <a:gd name="connsiteX90" fmla="*/ 455248 w 516735"/>
                <a:gd name="connsiteY90" fmla="*/ 79936 h 761503"/>
                <a:gd name="connsiteX91" fmla="*/ 466127 w 516735"/>
                <a:gd name="connsiteY91" fmla="*/ 98973 h 761503"/>
                <a:gd name="connsiteX92" fmla="*/ 463407 w 516735"/>
                <a:gd name="connsiteY92" fmla="*/ 109852 h 761503"/>
                <a:gd name="connsiteX93" fmla="*/ 463407 w 516735"/>
                <a:gd name="connsiteY93" fmla="*/ 120730 h 761503"/>
                <a:gd name="connsiteX94" fmla="*/ 463407 w 516735"/>
                <a:gd name="connsiteY94" fmla="*/ 194161 h 76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516735" h="761503">
                  <a:moveTo>
                    <a:pt x="463407" y="194161"/>
                  </a:moveTo>
                  <a:cubicBezTo>
                    <a:pt x="463407" y="205040"/>
                    <a:pt x="463407" y="226797"/>
                    <a:pt x="447089" y="226797"/>
                  </a:cubicBezTo>
                  <a:cubicBezTo>
                    <a:pt x="438930" y="226797"/>
                    <a:pt x="436211" y="226797"/>
                    <a:pt x="430771" y="221357"/>
                  </a:cubicBezTo>
                  <a:cubicBezTo>
                    <a:pt x="425332" y="218638"/>
                    <a:pt x="422612" y="210479"/>
                    <a:pt x="422612" y="207759"/>
                  </a:cubicBezTo>
                  <a:cubicBezTo>
                    <a:pt x="419893" y="199600"/>
                    <a:pt x="419893" y="194161"/>
                    <a:pt x="419893" y="188722"/>
                  </a:cubicBezTo>
                  <a:cubicBezTo>
                    <a:pt x="419893" y="183282"/>
                    <a:pt x="419893" y="147927"/>
                    <a:pt x="419893" y="139768"/>
                  </a:cubicBezTo>
                  <a:cubicBezTo>
                    <a:pt x="419893" y="134329"/>
                    <a:pt x="419893" y="128889"/>
                    <a:pt x="419893" y="120730"/>
                  </a:cubicBezTo>
                  <a:cubicBezTo>
                    <a:pt x="411734" y="120730"/>
                    <a:pt x="403574" y="120730"/>
                    <a:pt x="395416" y="120730"/>
                  </a:cubicBezTo>
                  <a:cubicBezTo>
                    <a:pt x="387256" y="120730"/>
                    <a:pt x="379098" y="120730"/>
                    <a:pt x="370939" y="120730"/>
                  </a:cubicBezTo>
                  <a:cubicBezTo>
                    <a:pt x="362780" y="120730"/>
                    <a:pt x="354621" y="123450"/>
                    <a:pt x="346461" y="123450"/>
                  </a:cubicBezTo>
                  <a:cubicBezTo>
                    <a:pt x="343742" y="123450"/>
                    <a:pt x="341023" y="123450"/>
                    <a:pt x="335583" y="123450"/>
                  </a:cubicBezTo>
                  <a:cubicBezTo>
                    <a:pt x="335583" y="123450"/>
                    <a:pt x="335583" y="123450"/>
                    <a:pt x="335583" y="123450"/>
                  </a:cubicBezTo>
                  <a:cubicBezTo>
                    <a:pt x="327424" y="123450"/>
                    <a:pt x="324704" y="126170"/>
                    <a:pt x="324704" y="128889"/>
                  </a:cubicBezTo>
                  <a:cubicBezTo>
                    <a:pt x="324704" y="131609"/>
                    <a:pt x="324704" y="137048"/>
                    <a:pt x="327424" y="139768"/>
                  </a:cubicBezTo>
                  <a:cubicBezTo>
                    <a:pt x="330144" y="147927"/>
                    <a:pt x="330144" y="166964"/>
                    <a:pt x="330144" y="175123"/>
                  </a:cubicBezTo>
                  <a:cubicBezTo>
                    <a:pt x="330144" y="183282"/>
                    <a:pt x="330144" y="191441"/>
                    <a:pt x="330144" y="199600"/>
                  </a:cubicBezTo>
                  <a:cubicBezTo>
                    <a:pt x="330144" y="207759"/>
                    <a:pt x="327424" y="215918"/>
                    <a:pt x="327424" y="224077"/>
                  </a:cubicBezTo>
                  <a:cubicBezTo>
                    <a:pt x="327424" y="232236"/>
                    <a:pt x="330144" y="243115"/>
                    <a:pt x="330144" y="251274"/>
                  </a:cubicBezTo>
                  <a:cubicBezTo>
                    <a:pt x="330144" y="259433"/>
                    <a:pt x="330144" y="267592"/>
                    <a:pt x="327424" y="278470"/>
                  </a:cubicBezTo>
                  <a:cubicBezTo>
                    <a:pt x="327424" y="294788"/>
                    <a:pt x="327424" y="313826"/>
                    <a:pt x="327424" y="332864"/>
                  </a:cubicBezTo>
                  <a:cubicBezTo>
                    <a:pt x="327424" y="341022"/>
                    <a:pt x="327424" y="349181"/>
                    <a:pt x="330144" y="357340"/>
                  </a:cubicBezTo>
                  <a:cubicBezTo>
                    <a:pt x="330144" y="360060"/>
                    <a:pt x="330144" y="365499"/>
                    <a:pt x="330144" y="368219"/>
                  </a:cubicBezTo>
                  <a:cubicBezTo>
                    <a:pt x="330144" y="373658"/>
                    <a:pt x="332863" y="384537"/>
                    <a:pt x="332863" y="387257"/>
                  </a:cubicBezTo>
                  <a:cubicBezTo>
                    <a:pt x="332863" y="406294"/>
                    <a:pt x="332863" y="414453"/>
                    <a:pt x="332863" y="433491"/>
                  </a:cubicBezTo>
                  <a:cubicBezTo>
                    <a:pt x="332863" y="452528"/>
                    <a:pt x="335583" y="468846"/>
                    <a:pt x="332863" y="487884"/>
                  </a:cubicBezTo>
                  <a:cubicBezTo>
                    <a:pt x="332863" y="496043"/>
                    <a:pt x="330144" y="504202"/>
                    <a:pt x="330144" y="512361"/>
                  </a:cubicBezTo>
                  <a:cubicBezTo>
                    <a:pt x="330144" y="520520"/>
                    <a:pt x="330144" y="531398"/>
                    <a:pt x="330144" y="539557"/>
                  </a:cubicBezTo>
                  <a:cubicBezTo>
                    <a:pt x="330144" y="558595"/>
                    <a:pt x="330144" y="574913"/>
                    <a:pt x="332863" y="593950"/>
                  </a:cubicBezTo>
                  <a:cubicBezTo>
                    <a:pt x="332863" y="610268"/>
                    <a:pt x="332863" y="632026"/>
                    <a:pt x="332863" y="648343"/>
                  </a:cubicBezTo>
                  <a:cubicBezTo>
                    <a:pt x="332863" y="651063"/>
                    <a:pt x="332863" y="653783"/>
                    <a:pt x="332863" y="656502"/>
                  </a:cubicBezTo>
                  <a:cubicBezTo>
                    <a:pt x="343742" y="656502"/>
                    <a:pt x="351901" y="656502"/>
                    <a:pt x="357341" y="656502"/>
                  </a:cubicBezTo>
                  <a:cubicBezTo>
                    <a:pt x="370939" y="656502"/>
                    <a:pt x="395416" y="659222"/>
                    <a:pt x="395416" y="675540"/>
                  </a:cubicBezTo>
                  <a:cubicBezTo>
                    <a:pt x="395416" y="683699"/>
                    <a:pt x="392696" y="686419"/>
                    <a:pt x="389976" y="691858"/>
                  </a:cubicBezTo>
                  <a:cubicBezTo>
                    <a:pt x="384537" y="697297"/>
                    <a:pt x="379098" y="700017"/>
                    <a:pt x="373658" y="700017"/>
                  </a:cubicBezTo>
                  <a:cubicBezTo>
                    <a:pt x="365499" y="702737"/>
                    <a:pt x="357341" y="702737"/>
                    <a:pt x="351901" y="702737"/>
                  </a:cubicBezTo>
                  <a:cubicBezTo>
                    <a:pt x="349181" y="702737"/>
                    <a:pt x="335583" y="702737"/>
                    <a:pt x="319265" y="702737"/>
                  </a:cubicBezTo>
                  <a:cubicBezTo>
                    <a:pt x="316546" y="705456"/>
                    <a:pt x="313826" y="705456"/>
                    <a:pt x="311106" y="708176"/>
                  </a:cubicBezTo>
                  <a:cubicBezTo>
                    <a:pt x="302948" y="713615"/>
                    <a:pt x="297508" y="713615"/>
                    <a:pt x="289349" y="713615"/>
                  </a:cubicBezTo>
                  <a:cubicBezTo>
                    <a:pt x="283910" y="713615"/>
                    <a:pt x="278470" y="713615"/>
                    <a:pt x="270311" y="713615"/>
                  </a:cubicBezTo>
                  <a:cubicBezTo>
                    <a:pt x="259433" y="713615"/>
                    <a:pt x="251273" y="710895"/>
                    <a:pt x="243115" y="705456"/>
                  </a:cubicBezTo>
                  <a:cubicBezTo>
                    <a:pt x="240395" y="705456"/>
                    <a:pt x="237675" y="702737"/>
                    <a:pt x="237675" y="702737"/>
                  </a:cubicBezTo>
                  <a:cubicBezTo>
                    <a:pt x="224077" y="702737"/>
                    <a:pt x="213198" y="702737"/>
                    <a:pt x="199600" y="702737"/>
                  </a:cubicBezTo>
                  <a:cubicBezTo>
                    <a:pt x="191441" y="702737"/>
                    <a:pt x="183282" y="702737"/>
                    <a:pt x="175123" y="702737"/>
                  </a:cubicBezTo>
                  <a:cubicBezTo>
                    <a:pt x="166965" y="702737"/>
                    <a:pt x="156085" y="702737"/>
                    <a:pt x="147927" y="697297"/>
                  </a:cubicBezTo>
                  <a:cubicBezTo>
                    <a:pt x="139768" y="694578"/>
                    <a:pt x="131609" y="680979"/>
                    <a:pt x="131609" y="678260"/>
                  </a:cubicBezTo>
                  <a:cubicBezTo>
                    <a:pt x="131609" y="675540"/>
                    <a:pt x="131609" y="672820"/>
                    <a:pt x="137048" y="670101"/>
                  </a:cubicBezTo>
                  <a:cubicBezTo>
                    <a:pt x="142487" y="667381"/>
                    <a:pt x="153366" y="664661"/>
                    <a:pt x="158805" y="661942"/>
                  </a:cubicBezTo>
                  <a:cubicBezTo>
                    <a:pt x="175123" y="659222"/>
                    <a:pt x="191441" y="659222"/>
                    <a:pt x="199600" y="659222"/>
                  </a:cubicBezTo>
                  <a:lnTo>
                    <a:pt x="199600" y="659222"/>
                  </a:lnTo>
                  <a:cubicBezTo>
                    <a:pt x="199600" y="648343"/>
                    <a:pt x="196880" y="640184"/>
                    <a:pt x="196880" y="629306"/>
                  </a:cubicBezTo>
                  <a:cubicBezTo>
                    <a:pt x="196880" y="612988"/>
                    <a:pt x="196880" y="591231"/>
                    <a:pt x="199600" y="574913"/>
                  </a:cubicBezTo>
                  <a:cubicBezTo>
                    <a:pt x="199600" y="558595"/>
                    <a:pt x="199600" y="539557"/>
                    <a:pt x="202320" y="523239"/>
                  </a:cubicBezTo>
                  <a:cubicBezTo>
                    <a:pt x="202320" y="501482"/>
                    <a:pt x="205040" y="482445"/>
                    <a:pt x="205040" y="460687"/>
                  </a:cubicBezTo>
                  <a:cubicBezTo>
                    <a:pt x="205040" y="447089"/>
                    <a:pt x="205040" y="430771"/>
                    <a:pt x="205040" y="417173"/>
                  </a:cubicBezTo>
                  <a:cubicBezTo>
                    <a:pt x="205040" y="409014"/>
                    <a:pt x="207759" y="400855"/>
                    <a:pt x="207759" y="392696"/>
                  </a:cubicBezTo>
                  <a:cubicBezTo>
                    <a:pt x="207759" y="384537"/>
                    <a:pt x="210478" y="376378"/>
                    <a:pt x="210478" y="368219"/>
                  </a:cubicBezTo>
                  <a:cubicBezTo>
                    <a:pt x="210478" y="351901"/>
                    <a:pt x="210478" y="332864"/>
                    <a:pt x="210478" y="313826"/>
                  </a:cubicBezTo>
                  <a:cubicBezTo>
                    <a:pt x="210478" y="294788"/>
                    <a:pt x="210478" y="275751"/>
                    <a:pt x="210478" y="259433"/>
                  </a:cubicBezTo>
                  <a:cubicBezTo>
                    <a:pt x="210478" y="243115"/>
                    <a:pt x="210478" y="226797"/>
                    <a:pt x="210478" y="213199"/>
                  </a:cubicBezTo>
                  <a:cubicBezTo>
                    <a:pt x="210478" y="194161"/>
                    <a:pt x="210478" y="164245"/>
                    <a:pt x="210478" y="145207"/>
                  </a:cubicBezTo>
                  <a:cubicBezTo>
                    <a:pt x="210478" y="139768"/>
                    <a:pt x="213198" y="134329"/>
                    <a:pt x="213198" y="131609"/>
                  </a:cubicBezTo>
                  <a:cubicBezTo>
                    <a:pt x="213198" y="126170"/>
                    <a:pt x="207759" y="123450"/>
                    <a:pt x="205040" y="123450"/>
                  </a:cubicBezTo>
                  <a:cubicBezTo>
                    <a:pt x="199600" y="123450"/>
                    <a:pt x="166965" y="123450"/>
                    <a:pt x="161525" y="123450"/>
                  </a:cubicBezTo>
                  <a:cubicBezTo>
                    <a:pt x="145207" y="123450"/>
                    <a:pt x="128889" y="123450"/>
                    <a:pt x="112571" y="120730"/>
                  </a:cubicBezTo>
                  <a:cubicBezTo>
                    <a:pt x="109852" y="120730"/>
                    <a:pt x="107132" y="120730"/>
                    <a:pt x="104412" y="118011"/>
                  </a:cubicBezTo>
                  <a:cubicBezTo>
                    <a:pt x="107132" y="137048"/>
                    <a:pt x="107132" y="172404"/>
                    <a:pt x="107132" y="191441"/>
                  </a:cubicBezTo>
                  <a:cubicBezTo>
                    <a:pt x="107132" y="202320"/>
                    <a:pt x="107132" y="224077"/>
                    <a:pt x="90814" y="224077"/>
                  </a:cubicBezTo>
                  <a:cubicBezTo>
                    <a:pt x="82655" y="224077"/>
                    <a:pt x="79935" y="221357"/>
                    <a:pt x="74496" y="218638"/>
                  </a:cubicBezTo>
                  <a:cubicBezTo>
                    <a:pt x="69057" y="215918"/>
                    <a:pt x="66337" y="210479"/>
                    <a:pt x="66337" y="205040"/>
                  </a:cubicBezTo>
                  <a:cubicBezTo>
                    <a:pt x="63617" y="196881"/>
                    <a:pt x="63617" y="191441"/>
                    <a:pt x="63617" y="186002"/>
                  </a:cubicBezTo>
                  <a:cubicBezTo>
                    <a:pt x="63617" y="180563"/>
                    <a:pt x="63617" y="153366"/>
                    <a:pt x="63617" y="145207"/>
                  </a:cubicBezTo>
                  <a:cubicBezTo>
                    <a:pt x="63617" y="134329"/>
                    <a:pt x="63617" y="120730"/>
                    <a:pt x="63617" y="109852"/>
                  </a:cubicBezTo>
                  <a:cubicBezTo>
                    <a:pt x="60897" y="104412"/>
                    <a:pt x="58178" y="101693"/>
                    <a:pt x="58178" y="96253"/>
                  </a:cubicBezTo>
                  <a:cubicBezTo>
                    <a:pt x="58178" y="93534"/>
                    <a:pt x="60897" y="88095"/>
                    <a:pt x="66337" y="85375"/>
                  </a:cubicBezTo>
                  <a:cubicBezTo>
                    <a:pt x="74496" y="79936"/>
                    <a:pt x="77215" y="77216"/>
                    <a:pt x="93533" y="77216"/>
                  </a:cubicBezTo>
                  <a:cubicBezTo>
                    <a:pt x="101692" y="77216"/>
                    <a:pt x="109852" y="77216"/>
                    <a:pt x="115290" y="77216"/>
                  </a:cubicBezTo>
                  <a:cubicBezTo>
                    <a:pt x="134328" y="77216"/>
                    <a:pt x="150646" y="77216"/>
                    <a:pt x="169684" y="74496"/>
                  </a:cubicBezTo>
                  <a:cubicBezTo>
                    <a:pt x="177843" y="74496"/>
                    <a:pt x="186002" y="71776"/>
                    <a:pt x="194161" y="71776"/>
                  </a:cubicBezTo>
                  <a:cubicBezTo>
                    <a:pt x="194161" y="71776"/>
                    <a:pt x="196880" y="71776"/>
                    <a:pt x="196880" y="71776"/>
                  </a:cubicBezTo>
                  <a:cubicBezTo>
                    <a:pt x="199600" y="71776"/>
                    <a:pt x="205040" y="71776"/>
                    <a:pt x="210478" y="71776"/>
                  </a:cubicBezTo>
                  <a:cubicBezTo>
                    <a:pt x="213198" y="71776"/>
                    <a:pt x="215918" y="71776"/>
                    <a:pt x="218638" y="71776"/>
                  </a:cubicBezTo>
                  <a:cubicBezTo>
                    <a:pt x="224077" y="69057"/>
                    <a:pt x="229516" y="63618"/>
                    <a:pt x="237675" y="60898"/>
                  </a:cubicBezTo>
                  <a:cubicBezTo>
                    <a:pt x="243115" y="58178"/>
                    <a:pt x="248554" y="58178"/>
                    <a:pt x="253993" y="58178"/>
                  </a:cubicBezTo>
                  <a:cubicBezTo>
                    <a:pt x="264872" y="58178"/>
                    <a:pt x="273031" y="58178"/>
                    <a:pt x="283910" y="60898"/>
                  </a:cubicBezTo>
                  <a:cubicBezTo>
                    <a:pt x="286629" y="60898"/>
                    <a:pt x="292068" y="63618"/>
                    <a:pt x="294788" y="66337"/>
                  </a:cubicBezTo>
                  <a:cubicBezTo>
                    <a:pt x="297508" y="69057"/>
                    <a:pt x="302948" y="71776"/>
                    <a:pt x="305667" y="74496"/>
                  </a:cubicBezTo>
                  <a:cubicBezTo>
                    <a:pt x="308386" y="74496"/>
                    <a:pt x="311106" y="74496"/>
                    <a:pt x="313826" y="74496"/>
                  </a:cubicBezTo>
                  <a:cubicBezTo>
                    <a:pt x="319265" y="74496"/>
                    <a:pt x="321985" y="74496"/>
                    <a:pt x="327424" y="74496"/>
                  </a:cubicBezTo>
                  <a:cubicBezTo>
                    <a:pt x="335583" y="74496"/>
                    <a:pt x="346461" y="74496"/>
                    <a:pt x="354621" y="74496"/>
                  </a:cubicBezTo>
                  <a:cubicBezTo>
                    <a:pt x="376378" y="74496"/>
                    <a:pt x="400855" y="74496"/>
                    <a:pt x="422612" y="74496"/>
                  </a:cubicBezTo>
                  <a:cubicBezTo>
                    <a:pt x="433491" y="74496"/>
                    <a:pt x="447089" y="74496"/>
                    <a:pt x="455248" y="79936"/>
                  </a:cubicBezTo>
                  <a:cubicBezTo>
                    <a:pt x="460687" y="82655"/>
                    <a:pt x="466127" y="90814"/>
                    <a:pt x="466127" y="98973"/>
                  </a:cubicBezTo>
                  <a:cubicBezTo>
                    <a:pt x="466127" y="101693"/>
                    <a:pt x="466127" y="107132"/>
                    <a:pt x="463407" y="109852"/>
                  </a:cubicBezTo>
                  <a:cubicBezTo>
                    <a:pt x="463407" y="112571"/>
                    <a:pt x="463407" y="112571"/>
                    <a:pt x="463407" y="120730"/>
                  </a:cubicBezTo>
                  <a:cubicBezTo>
                    <a:pt x="463407" y="142488"/>
                    <a:pt x="463407" y="172404"/>
                    <a:pt x="463407" y="194161"/>
                  </a:cubicBezTo>
                </a:path>
              </a:pathLst>
            </a:custGeom>
            <a:grpFill/>
            <a:ln w="27168" cap="flat">
              <a:noFill/>
              <a:prstDash val="solid"/>
              <a:miter/>
            </a:ln>
          </p:spPr>
          <p:txBody>
            <a:bodyPr rtlCol="0" anchor="ctr"/>
            <a:lstStyle/>
            <a:p>
              <a:endParaRPr lang="en-US"/>
            </a:p>
          </p:txBody>
        </p:sp>
      </p:grpSp>
      <p:sp>
        <p:nvSpPr>
          <p:cNvPr id="141" name="Graphic 11">
            <a:extLst>
              <a:ext uri="{FF2B5EF4-FFF2-40B4-BE49-F238E27FC236}">
                <a16:creationId xmlns:a16="http://schemas.microsoft.com/office/drawing/2014/main" id="{BB4F1223-8E29-4CD9-A4EE-0BAC544B2824}"/>
              </a:ext>
            </a:extLst>
          </p:cNvPr>
          <p:cNvSpPr/>
          <p:nvPr userDrawn="1"/>
        </p:nvSpPr>
        <p:spPr>
          <a:xfrm flipV="1">
            <a:off x="9915525" y="5673617"/>
            <a:ext cx="1802622" cy="45719"/>
          </a:xfrm>
          <a:custGeom>
            <a:avLst/>
            <a:gdLst>
              <a:gd name="connsiteX0" fmla="*/ 5634971 w 5634018"/>
              <a:gd name="connsiteY0" fmla="*/ 49074 h 147637"/>
              <a:gd name="connsiteX1" fmla="*/ 5600681 w 5634018"/>
              <a:gd name="connsiteY1" fmla="*/ 27167 h 147637"/>
              <a:gd name="connsiteX2" fmla="*/ 216693 w 5634018"/>
              <a:gd name="connsiteY2" fmla="*/ 12879 h 147637"/>
              <a:gd name="connsiteX3" fmla="*/ 0 w 5634018"/>
              <a:gd name="connsiteY3" fmla="*/ 85269 h 147637"/>
              <a:gd name="connsiteX4" fmla="*/ 812480 w 5634018"/>
              <a:gd name="connsiteY4" fmla="*/ 121464 h 147637"/>
              <a:gd name="connsiteX5" fmla="*/ 2112638 w 5634018"/>
              <a:gd name="connsiteY5" fmla="*/ 85269 h 147637"/>
              <a:gd name="connsiteX6" fmla="*/ 5472094 w 5634018"/>
              <a:gd name="connsiteY6" fmla="*/ 120988 h 147637"/>
              <a:gd name="connsiteX7" fmla="*/ 5634971 w 5634018"/>
              <a:gd name="connsiteY7" fmla="*/ 49074 h 147637"/>
              <a:gd name="connsiteX8" fmla="*/ 5634971 w 5634018"/>
              <a:gd name="connsiteY8" fmla="*/ 49074 h 147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34018" h="147637">
                <a:moveTo>
                  <a:pt x="5634971" y="49074"/>
                </a:moveTo>
                <a:cubicBezTo>
                  <a:pt x="5634971" y="36692"/>
                  <a:pt x="5622588" y="27167"/>
                  <a:pt x="5600681" y="27167"/>
                </a:cubicBezTo>
                <a:cubicBezTo>
                  <a:pt x="3833323" y="25738"/>
                  <a:pt x="1982622" y="-22363"/>
                  <a:pt x="216693" y="12879"/>
                </a:cubicBezTo>
                <a:cubicBezTo>
                  <a:pt x="162401" y="12879"/>
                  <a:pt x="0" y="49074"/>
                  <a:pt x="0" y="85269"/>
                </a:cubicBezTo>
                <a:cubicBezTo>
                  <a:pt x="0" y="204331"/>
                  <a:pt x="541971" y="121464"/>
                  <a:pt x="812480" y="121464"/>
                </a:cubicBezTo>
                <a:cubicBezTo>
                  <a:pt x="1245866" y="85269"/>
                  <a:pt x="1679252" y="85269"/>
                  <a:pt x="2112638" y="85269"/>
                </a:cubicBezTo>
                <a:cubicBezTo>
                  <a:pt x="3250871" y="157183"/>
                  <a:pt x="4334336" y="120988"/>
                  <a:pt x="5472094" y="120988"/>
                </a:cubicBezTo>
                <a:cubicBezTo>
                  <a:pt x="5526386" y="120988"/>
                  <a:pt x="5634971" y="120988"/>
                  <a:pt x="5634971" y="49074"/>
                </a:cubicBezTo>
                <a:lnTo>
                  <a:pt x="5634971" y="49074"/>
                </a:lnTo>
                <a:close/>
              </a:path>
            </a:pathLst>
          </a:custGeom>
          <a:solidFill>
            <a:schemeClr val="tx1"/>
          </a:solidFill>
          <a:ln w="4758" cap="flat">
            <a:noFill/>
            <a:prstDash val="solid"/>
            <a:miter/>
          </a:ln>
        </p:spPr>
        <p:txBody>
          <a:bodyPr rtlCol="0" anchor="ctr"/>
          <a:lstStyle/>
          <a:p>
            <a:endParaRPr lang="en-US"/>
          </a:p>
        </p:txBody>
      </p:sp>
      <p:pic>
        <p:nvPicPr>
          <p:cNvPr id="142" name="Picture 141">
            <a:extLst>
              <a:ext uri="{FF2B5EF4-FFF2-40B4-BE49-F238E27FC236}">
                <a16:creationId xmlns:a16="http://schemas.microsoft.com/office/drawing/2014/main" id="{391D86E1-8FA5-4DFC-B5D1-F9A5E4296AD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rcRect/>
          <a:stretch/>
        </p:blipFill>
        <p:spPr>
          <a:xfrm>
            <a:off x="9953573" y="5847279"/>
            <a:ext cx="1780594" cy="774762"/>
          </a:xfrm>
          <a:prstGeom prst="rect">
            <a:avLst/>
          </a:prstGeom>
          <a:noFill/>
        </p:spPr>
      </p:pic>
    </p:spTree>
    <p:extLst>
      <p:ext uri="{BB962C8B-B14F-4D97-AF65-F5344CB8AC3E}">
        <p14:creationId xmlns:p14="http://schemas.microsoft.com/office/powerpoint/2010/main" val="3040573029"/>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and Content Orange">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90A67651-30FC-482C-8BD7-415FEAC5C2F3}"/>
              </a:ext>
            </a:extLst>
          </p:cNvPr>
          <p:cNvSpPr/>
          <p:nvPr/>
        </p:nvSpPr>
        <p:spPr>
          <a:xfrm>
            <a:off x="0" y="0"/>
            <a:ext cx="12192000" cy="6874379"/>
          </a:xfrm>
          <a:custGeom>
            <a:avLst/>
            <a:gdLst>
              <a:gd name="connsiteX0" fmla="*/ 0 w 12192000"/>
              <a:gd name="connsiteY0" fmla="*/ 0 h 6874379"/>
              <a:gd name="connsiteX1" fmla="*/ 12192000 w 12192000"/>
              <a:gd name="connsiteY1" fmla="*/ 0 h 6874379"/>
              <a:gd name="connsiteX2" fmla="*/ 12192000 w 12192000"/>
              <a:gd name="connsiteY2" fmla="*/ 190329 h 6874379"/>
              <a:gd name="connsiteX3" fmla="*/ 12097817 w 12192000"/>
              <a:gd name="connsiteY3" fmla="*/ 160025 h 6874379"/>
              <a:gd name="connsiteX4" fmla="*/ 11807295 w 12192000"/>
              <a:gd name="connsiteY4" fmla="*/ 132559 h 6874379"/>
              <a:gd name="connsiteX5" fmla="*/ 11803273 w 12192000"/>
              <a:gd name="connsiteY5" fmla="*/ 132651 h 6874379"/>
              <a:gd name="connsiteX6" fmla="*/ 11801114 w 12192000"/>
              <a:gd name="connsiteY6" fmla="*/ 132559 h 6874379"/>
              <a:gd name="connsiteX7" fmla="*/ 9648247 w 12192000"/>
              <a:gd name="connsiteY7" fmla="*/ 283191 h 6874379"/>
              <a:gd name="connsiteX8" fmla="*/ 9289437 w 12192000"/>
              <a:gd name="connsiteY8" fmla="*/ 298139 h 6874379"/>
              <a:gd name="connsiteX9" fmla="*/ 8937897 w 12192000"/>
              <a:gd name="connsiteY9" fmla="*/ 297353 h 6874379"/>
              <a:gd name="connsiteX10" fmla="*/ 7958013 w 12192000"/>
              <a:gd name="connsiteY10" fmla="*/ 284263 h 6874379"/>
              <a:gd name="connsiteX11" fmla="*/ 7948375 w 12192000"/>
              <a:gd name="connsiteY11" fmla="*/ 284273 h 6874379"/>
              <a:gd name="connsiteX12" fmla="*/ 7947582 w 12192000"/>
              <a:gd name="connsiteY12" fmla="*/ 284263 h 6874379"/>
              <a:gd name="connsiteX13" fmla="*/ 5026488 w 12192000"/>
              <a:gd name="connsiteY13" fmla="*/ 324819 h 6874379"/>
              <a:gd name="connsiteX14" fmla="*/ 5003554 w 12192000"/>
              <a:gd name="connsiteY14" fmla="*/ 325295 h 6874379"/>
              <a:gd name="connsiteX15" fmla="*/ 4543566 w 12192000"/>
              <a:gd name="connsiteY15" fmla="*/ 331280 h 6874379"/>
              <a:gd name="connsiteX16" fmla="*/ 1280017 w 12192000"/>
              <a:gd name="connsiteY16" fmla="*/ 176856 h 6874379"/>
              <a:gd name="connsiteX17" fmla="*/ 405208 w 12192000"/>
              <a:gd name="connsiteY17" fmla="*/ 314184 h 6874379"/>
              <a:gd name="connsiteX18" fmla="*/ 282764 w 12192000"/>
              <a:gd name="connsiteY18" fmla="*/ 671391 h 6874379"/>
              <a:gd name="connsiteX19" fmla="*/ 248165 w 12192000"/>
              <a:gd name="connsiteY19" fmla="*/ 1871382 h 6874379"/>
              <a:gd name="connsiteX20" fmla="*/ 256012 w 12192000"/>
              <a:gd name="connsiteY20" fmla="*/ 2213101 h 6874379"/>
              <a:gd name="connsiteX21" fmla="*/ 252706 w 12192000"/>
              <a:gd name="connsiteY21" fmla="*/ 2453832 h 6874379"/>
              <a:gd name="connsiteX22" fmla="*/ 244400 w 12192000"/>
              <a:gd name="connsiteY22" fmla="*/ 3071384 h 6874379"/>
              <a:gd name="connsiteX23" fmla="*/ 177982 w 12192000"/>
              <a:gd name="connsiteY23" fmla="*/ 3854148 h 6874379"/>
              <a:gd name="connsiteX24" fmla="*/ 144773 w 12192000"/>
              <a:gd name="connsiteY24" fmla="*/ 6202469 h 6874379"/>
              <a:gd name="connsiteX25" fmla="*/ 676116 w 12192000"/>
              <a:gd name="connsiteY25" fmla="*/ 6710576 h 6874379"/>
              <a:gd name="connsiteX26" fmla="*/ 739810 w 12192000"/>
              <a:gd name="connsiteY26" fmla="*/ 6711571 h 6874379"/>
              <a:gd name="connsiteX27" fmla="*/ 742537 w 12192000"/>
              <a:gd name="connsiteY27" fmla="*/ 6711326 h 6874379"/>
              <a:gd name="connsiteX28" fmla="*/ 758188 w 12192000"/>
              <a:gd name="connsiteY28" fmla="*/ 6711571 h 6874379"/>
              <a:gd name="connsiteX29" fmla="*/ 1161699 w 12192000"/>
              <a:gd name="connsiteY29" fmla="*/ 6645433 h 6874379"/>
              <a:gd name="connsiteX30" fmla="*/ 1223129 w 12192000"/>
              <a:gd name="connsiteY30" fmla="*/ 6642040 h 6874379"/>
              <a:gd name="connsiteX31" fmla="*/ 1249749 w 12192000"/>
              <a:gd name="connsiteY31" fmla="*/ 6642246 h 6874379"/>
              <a:gd name="connsiteX32" fmla="*/ 2021087 w 12192000"/>
              <a:gd name="connsiteY32" fmla="*/ 6683110 h 6874379"/>
              <a:gd name="connsiteX33" fmla="*/ 7012994 w 12192000"/>
              <a:gd name="connsiteY33" fmla="*/ 6716069 h 6874379"/>
              <a:gd name="connsiteX34" fmla="*/ 7016698 w 12192000"/>
              <a:gd name="connsiteY34" fmla="*/ 6716018 h 6874379"/>
              <a:gd name="connsiteX35" fmla="*/ 7024455 w 12192000"/>
              <a:gd name="connsiteY35" fmla="*/ 6716069 h 6874379"/>
              <a:gd name="connsiteX36" fmla="*/ 7963164 w 12192000"/>
              <a:gd name="connsiteY36" fmla="*/ 6700185 h 6874379"/>
              <a:gd name="connsiteX37" fmla="*/ 8424990 w 12192000"/>
              <a:gd name="connsiteY37" fmla="*/ 6696610 h 6874379"/>
              <a:gd name="connsiteX38" fmla="*/ 8891818 w 12192000"/>
              <a:gd name="connsiteY38" fmla="*/ 6707289 h 6874379"/>
              <a:gd name="connsiteX39" fmla="*/ 11120508 w 12192000"/>
              <a:gd name="connsiteY39" fmla="*/ 6749147 h 6874379"/>
              <a:gd name="connsiteX40" fmla="*/ 11123244 w 12192000"/>
              <a:gd name="connsiteY40" fmla="*/ 6749138 h 6874379"/>
              <a:gd name="connsiteX41" fmla="*/ 11127440 w 12192000"/>
              <a:gd name="connsiteY41" fmla="*/ 6749147 h 6874379"/>
              <a:gd name="connsiteX42" fmla="*/ 11659021 w 12192000"/>
              <a:gd name="connsiteY42" fmla="*/ 6746289 h 6874379"/>
              <a:gd name="connsiteX43" fmla="*/ 12146815 w 12192000"/>
              <a:gd name="connsiteY43" fmla="*/ 6741361 h 6874379"/>
              <a:gd name="connsiteX44" fmla="*/ 12192000 w 12192000"/>
              <a:gd name="connsiteY44" fmla="*/ 6734754 h 6874379"/>
              <a:gd name="connsiteX45" fmla="*/ 12192000 w 12192000"/>
              <a:gd name="connsiteY45" fmla="*/ 6874379 h 6874379"/>
              <a:gd name="connsiteX46" fmla="*/ 0 w 12192000"/>
              <a:gd name="connsiteY46" fmla="*/ 6874379 h 6874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192000" h="6874379">
                <a:moveTo>
                  <a:pt x="0" y="0"/>
                </a:moveTo>
                <a:lnTo>
                  <a:pt x="12192000" y="0"/>
                </a:lnTo>
                <a:lnTo>
                  <a:pt x="12192000" y="190329"/>
                </a:lnTo>
                <a:lnTo>
                  <a:pt x="12097817" y="160025"/>
                </a:lnTo>
                <a:cubicBezTo>
                  <a:pt x="12015663" y="141142"/>
                  <a:pt x="11919254" y="132559"/>
                  <a:pt x="11807295" y="132559"/>
                </a:cubicBezTo>
                <a:lnTo>
                  <a:pt x="11803273" y="132651"/>
                </a:lnTo>
                <a:lnTo>
                  <a:pt x="11801114" y="132559"/>
                </a:lnTo>
                <a:cubicBezTo>
                  <a:pt x="11078819" y="132559"/>
                  <a:pt x="10365869" y="240705"/>
                  <a:pt x="9648247" y="283191"/>
                </a:cubicBezTo>
                <a:lnTo>
                  <a:pt x="9289437" y="298139"/>
                </a:lnTo>
                <a:lnTo>
                  <a:pt x="8937897" y="297353"/>
                </a:lnTo>
                <a:cubicBezTo>
                  <a:pt x="8610318" y="290487"/>
                  <a:pt x="8283777" y="286195"/>
                  <a:pt x="7958013" y="284263"/>
                </a:cubicBezTo>
                <a:lnTo>
                  <a:pt x="7948375" y="284273"/>
                </a:lnTo>
                <a:lnTo>
                  <a:pt x="7947582" y="284263"/>
                </a:lnTo>
                <a:cubicBezTo>
                  <a:pt x="6969212" y="278468"/>
                  <a:pt x="5997850" y="293915"/>
                  <a:pt x="5026488" y="324819"/>
                </a:cubicBezTo>
                <a:lnTo>
                  <a:pt x="5003554" y="325295"/>
                </a:lnTo>
                <a:lnTo>
                  <a:pt x="4543566" y="331280"/>
                </a:lnTo>
                <a:cubicBezTo>
                  <a:pt x="3349959" y="326969"/>
                  <a:pt x="1955605" y="198024"/>
                  <a:pt x="1280017" y="176856"/>
                </a:cubicBezTo>
                <a:cubicBezTo>
                  <a:pt x="615478" y="156034"/>
                  <a:pt x="571070" y="163116"/>
                  <a:pt x="405208" y="314184"/>
                </a:cubicBezTo>
                <a:cubicBezTo>
                  <a:pt x="322286" y="396581"/>
                  <a:pt x="299341" y="575254"/>
                  <a:pt x="282764" y="671391"/>
                </a:cubicBezTo>
                <a:cubicBezTo>
                  <a:pt x="241294" y="1090239"/>
                  <a:pt x="240583" y="1480809"/>
                  <a:pt x="248165" y="1871382"/>
                </a:cubicBezTo>
                <a:lnTo>
                  <a:pt x="256012" y="2213101"/>
                </a:lnTo>
                <a:lnTo>
                  <a:pt x="252706" y="2453832"/>
                </a:lnTo>
                <a:cubicBezTo>
                  <a:pt x="250630" y="2656821"/>
                  <a:pt x="248553" y="2861957"/>
                  <a:pt x="244400" y="3071384"/>
                </a:cubicBezTo>
                <a:cubicBezTo>
                  <a:pt x="244400" y="3277369"/>
                  <a:pt x="211191" y="3552026"/>
                  <a:pt x="177982" y="3854148"/>
                </a:cubicBezTo>
                <a:cubicBezTo>
                  <a:pt x="94968" y="4623186"/>
                  <a:pt x="177982" y="5419690"/>
                  <a:pt x="144773" y="6202469"/>
                </a:cubicBezTo>
                <a:cubicBezTo>
                  <a:pt x="128177" y="6477125"/>
                  <a:pt x="227804" y="6683110"/>
                  <a:pt x="676116" y="6710576"/>
                </a:cubicBezTo>
                <a:cubicBezTo>
                  <a:pt x="696872" y="6712294"/>
                  <a:pt x="718146" y="6712509"/>
                  <a:pt x="739810" y="6711571"/>
                </a:cubicBezTo>
                <a:lnTo>
                  <a:pt x="742537" y="6711326"/>
                </a:lnTo>
                <a:lnTo>
                  <a:pt x="758188" y="6711571"/>
                </a:lnTo>
                <a:cubicBezTo>
                  <a:pt x="888027" y="6705943"/>
                  <a:pt x="1031860" y="6658790"/>
                  <a:pt x="1161699" y="6645433"/>
                </a:cubicBezTo>
                <a:lnTo>
                  <a:pt x="1223129" y="6642040"/>
                </a:lnTo>
                <a:lnTo>
                  <a:pt x="1249749" y="6642246"/>
                </a:lnTo>
                <a:cubicBezTo>
                  <a:pt x="1426096" y="6645459"/>
                  <a:pt x="1113971" y="6671527"/>
                  <a:pt x="2021087" y="6683110"/>
                </a:cubicBezTo>
                <a:lnTo>
                  <a:pt x="7012994" y="6716069"/>
                </a:lnTo>
                <a:lnTo>
                  <a:pt x="7016698" y="6716018"/>
                </a:lnTo>
                <a:lnTo>
                  <a:pt x="7024455" y="6716069"/>
                </a:lnTo>
                <a:cubicBezTo>
                  <a:pt x="7337250" y="6714606"/>
                  <a:pt x="7650263" y="6705480"/>
                  <a:pt x="7963164" y="6700185"/>
                </a:cubicBezTo>
                <a:lnTo>
                  <a:pt x="8424990" y="6696610"/>
                </a:lnTo>
                <a:lnTo>
                  <a:pt x="8891818" y="6707289"/>
                </a:lnTo>
                <a:cubicBezTo>
                  <a:pt x="9645805" y="6740724"/>
                  <a:pt x="10498919" y="6749520"/>
                  <a:pt x="11120508" y="6749147"/>
                </a:cubicBezTo>
                <a:lnTo>
                  <a:pt x="11123244" y="6749138"/>
                </a:lnTo>
                <a:lnTo>
                  <a:pt x="11127440" y="6749147"/>
                </a:lnTo>
                <a:cubicBezTo>
                  <a:pt x="11334408" y="6749022"/>
                  <a:pt x="11515679" y="6747879"/>
                  <a:pt x="11659021" y="6746289"/>
                </a:cubicBezTo>
                <a:cubicBezTo>
                  <a:pt x="11945705" y="6743110"/>
                  <a:pt x="12070693" y="6747846"/>
                  <a:pt x="12146815" y="6741361"/>
                </a:cubicBezTo>
                <a:lnTo>
                  <a:pt x="12192000" y="6734754"/>
                </a:lnTo>
                <a:lnTo>
                  <a:pt x="12192000" y="6874379"/>
                </a:lnTo>
                <a:lnTo>
                  <a:pt x="0" y="687437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858FEA80-7B9C-47B6-AB26-C4831912993A}"/>
              </a:ext>
            </a:extLst>
          </p:cNvPr>
          <p:cNvSpPr>
            <a:spLocks noGrp="1"/>
          </p:cNvSpPr>
          <p:nvPr>
            <p:ph type="title"/>
          </p:nvPr>
        </p:nvSpPr>
        <p:spPr>
          <a:xfrm>
            <a:off x="628501" y="457200"/>
            <a:ext cx="11182499" cy="485335"/>
          </a:xfrm>
        </p:spPr>
        <p:txBody>
          <a:bodyPr/>
          <a:lstStyle/>
          <a:p>
            <a:r>
              <a:rPr lang="en-US"/>
              <a:t>Click to edit Master title style</a:t>
            </a:r>
          </a:p>
        </p:txBody>
      </p:sp>
      <p:sp>
        <p:nvSpPr>
          <p:cNvPr id="7" name="Content Placeholder 6">
            <a:extLst>
              <a:ext uri="{FF2B5EF4-FFF2-40B4-BE49-F238E27FC236}">
                <a16:creationId xmlns:a16="http://schemas.microsoft.com/office/drawing/2014/main" id="{4609F077-D81F-4729-9AC7-9C5410D45906}"/>
              </a:ext>
            </a:extLst>
          </p:cNvPr>
          <p:cNvSpPr>
            <a:spLocks noGrp="1"/>
          </p:cNvSpPr>
          <p:nvPr>
            <p:ph sz="quarter" idx="13" hasCustomPrompt="1"/>
          </p:nvPr>
        </p:nvSpPr>
        <p:spPr>
          <a:xfrm>
            <a:off x="628651" y="1664702"/>
            <a:ext cx="11182350" cy="4355097"/>
          </a:xfrm>
        </p:spPr>
        <p:txBody>
          <a:bodyPr/>
          <a:lstStyle>
            <a:lvl1pPr>
              <a:defRPr/>
            </a:lvl1pPr>
          </a:lstStyle>
          <a:p>
            <a:pPr lvl="0"/>
            <a:r>
              <a:rPr lang="en-US"/>
              <a:t>Click to add text or choose an icon below to insert other content</a:t>
            </a:r>
          </a:p>
          <a:p>
            <a:pPr lvl="1"/>
            <a:r>
              <a:rPr lang="en-US"/>
              <a:t>Second level</a:t>
            </a:r>
          </a:p>
          <a:p>
            <a:pPr lvl="2"/>
            <a:r>
              <a:rPr lang="en-US"/>
              <a:t>Third level</a:t>
            </a:r>
          </a:p>
          <a:p>
            <a:pPr lvl="3"/>
            <a:r>
              <a:rPr lang="en-US"/>
              <a:t>Fourth level</a:t>
            </a:r>
          </a:p>
          <a:p>
            <a:pPr lvl="4"/>
            <a:r>
              <a:rPr lang="en-US"/>
              <a:t>Fifth level</a:t>
            </a:r>
          </a:p>
        </p:txBody>
      </p:sp>
      <p:sp>
        <p:nvSpPr>
          <p:cNvPr id="13" name="Text Placeholder 53">
            <a:extLst>
              <a:ext uri="{FF2B5EF4-FFF2-40B4-BE49-F238E27FC236}">
                <a16:creationId xmlns:a16="http://schemas.microsoft.com/office/drawing/2014/main" id="{DCA8F8B7-60BD-4B53-A658-C77FA4FA67B5}"/>
              </a:ext>
            </a:extLst>
          </p:cNvPr>
          <p:cNvSpPr>
            <a:spLocks noGrp="1"/>
          </p:cNvSpPr>
          <p:nvPr>
            <p:ph type="body" sz="quarter" idx="14" hasCustomPrompt="1"/>
          </p:nvPr>
        </p:nvSpPr>
        <p:spPr>
          <a:xfrm>
            <a:off x="628500" y="1086829"/>
            <a:ext cx="11182499" cy="290515"/>
          </a:xfrm>
        </p:spPr>
        <p:txBody>
          <a:bodyPr/>
          <a:lstStyle>
            <a:lvl1pPr marL="0" indent="0">
              <a:spcBef>
                <a:spcPts val="0"/>
              </a:spcBef>
              <a:buNone/>
              <a:defRPr sz="2000">
                <a:solidFill>
                  <a:srgbClr val="724D8D"/>
                </a:solidFill>
              </a:defRPr>
            </a:lvl1pPr>
            <a:lvl2pPr marL="0" indent="0">
              <a:spcBef>
                <a:spcPts val="0"/>
              </a:spcBef>
              <a:buNone/>
              <a:defRPr sz="2000">
                <a:solidFill>
                  <a:srgbClr val="724D8D"/>
                </a:solidFill>
              </a:defRPr>
            </a:lvl2pPr>
            <a:lvl3pPr marL="0" indent="0">
              <a:spcBef>
                <a:spcPts val="0"/>
              </a:spcBef>
              <a:buNone/>
              <a:defRPr sz="2000">
                <a:solidFill>
                  <a:srgbClr val="724D8D"/>
                </a:solidFill>
              </a:defRPr>
            </a:lvl3pPr>
            <a:lvl4pPr marL="0" indent="0">
              <a:spcBef>
                <a:spcPts val="0"/>
              </a:spcBef>
              <a:buNone/>
              <a:defRPr sz="2000">
                <a:solidFill>
                  <a:srgbClr val="724D8D"/>
                </a:solidFill>
              </a:defRPr>
            </a:lvl4pPr>
            <a:lvl5pPr marL="0" indent="0">
              <a:spcBef>
                <a:spcPts val="0"/>
              </a:spcBef>
              <a:buNone/>
              <a:defRPr sz="2000">
                <a:solidFill>
                  <a:srgbClr val="724D8D"/>
                </a:solidFill>
              </a:defRPr>
            </a:lvl5pPr>
            <a:lvl6pPr marL="0" indent="0">
              <a:spcBef>
                <a:spcPts val="0"/>
              </a:spcBef>
              <a:buNone/>
              <a:defRPr sz="2000">
                <a:solidFill>
                  <a:srgbClr val="724D8D"/>
                </a:solidFill>
              </a:defRPr>
            </a:lvl6pPr>
            <a:lvl7pPr marL="0" indent="0">
              <a:spcBef>
                <a:spcPts val="0"/>
              </a:spcBef>
              <a:buNone/>
              <a:defRPr sz="2000">
                <a:solidFill>
                  <a:srgbClr val="724D8D"/>
                </a:solidFill>
              </a:defRPr>
            </a:lvl7pPr>
            <a:lvl8pPr marL="0" indent="0">
              <a:spcBef>
                <a:spcPts val="0"/>
              </a:spcBef>
              <a:buNone/>
              <a:defRPr sz="2000">
                <a:solidFill>
                  <a:srgbClr val="724D8D"/>
                </a:solidFill>
              </a:defRPr>
            </a:lvl8pPr>
            <a:lvl9pPr marL="0" indent="0">
              <a:spcBef>
                <a:spcPts val="0"/>
              </a:spcBef>
              <a:buNone/>
              <a:defRPr sz="2000">
                <a:solidFill>
                  <a:srgbClr val="724D8D"/>
                </a:solidFill>
              </a:defRPr>
            </a:lvl9pPr>
          </a:lstStyle>
          <a:p>
            <a:pPr lvl="0"/>
            <a:r>
              <a:rPr lang="en-US"/>
              <a:t>Click to add subtitle</a:t>
            </a:r>
          </a:p>
        </p:txBody>
      </p:sp>
      <p:sp>
        <p:nvSpPr>
          <p:cNvPr id="19" name="Footer Placeholder 1">
            <a:extLst>
              <a:ext uri="{FF2B5EF4-FFF2-40B4-BE49-F238E27FC236}">
                <a16:creationId xmlns:a16="http://schemas.microsoft.com/office/drawing/2014/main" id="{7AB1F560-E512-42BE-972F-5783F40166DE}"/>
              </a:ext>
            </a:extLst>
          </p:cNvPr>
          <p:cNvSpPr txBox="1">
            <a:spLocks/>
          </p:cNvSpPr>
          <p:nvPr userDrawn="1"/>
        </p:nvSpPr>
        <p:spPr>
          <a:xfrm>
            <a:off x="688744" y="6426529"/>
            <a:ext cx="2668904" cy="206375"/>
          </a:xfrm>
          <a:prstGeom prst="rect">
            <a:avLst/>
          </a:prstGeom>
        </p:spPr>
        <p:txBody>
          <a:bodyPr vert="horz" lIns="0" tIns="45720" rIns="91440" bIns="45720" rtlCol="0" anchor="t" anchorCtr="0"/>
          <a:lstStyle>
            <a:defPPr>
              <a:defRPr lang="en-US"/>
            </a:defPPr>
            <a:lvl1pPr marL="0" algn="ct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algn="l" defTabSz="914400" rtl="0" eaLnBrk="1" latinLnBrk="0" hangingPunct="1"/>
            <a:r>
              <a:rPr lang="en-US" sz="800" kern="1200" noProof="0">
                <a:solidFill>
                  <a:schemeClr val="tx1">
                    <a:alpha val="40000"/>
                  </a:schemeClr>
                </a:solidFill>
                <a:latin typeface="Graphik" panose="020B0503030202060203" pitchFamily="34" charset="77"/>
                <a:ea typeface="+mn-ea"/>
                <a:cs typeface="+mn-cs"/>
              </a:rPr>
              <a:t>Copyright © 2021 Accenture. All rights reserved.</a:t>
            </a:r>
          </a:p>
        </p:txBody>
      </p:sp>
      <p:grpSp>
        <p:nvGrpSpPr>
          <p:cNvPr id="3" name="Group 2">
            <a:extLst>
              <a:ext uri="{FF2B5EF4-FFF2-40B4-BE49-F238E27FC236}">
                <a16:creationId xmlns:a16="http://schemas.microsoft.com/office/drawing/2014/main" id="{BA3C9BC3-3809-4615-B2FA-479AA65C03F8}"/>
              </a:ext>
            </a:extLst>
          </p:cNvPr>
          <p:cNvGrpSpPr/>
          <p:nvPr userDrawn="1"/>
        </p:nvGrpSpPr>
        <p:grpSpPr>
          <a:xfrm>
            <a:off x="5418107" y="6434247"/>
            <a:ext cx="1355786" cy="190938"/>
            <a:chOff x="5418107" y="6485047"/>
            <a:chExt cx="1355786" cy="190938"/>
          </a:xfrm>
        </p:grpSpPr>
        <p:sp>
          <p:nvSpPr>
            <p:cNvPr id="21" name="Plus Sign 20">
              <a:extLst>
                <a:ext uri="{FF2B5EF4-FFF2-40B4-BE49-F238E27FC236}">
                  <a16:creationId xmlns:a16="http://schemas.microsoft.com/office/drawing/2014/main" id="{ABE94950-FB61-4548-BAC2-91E580BA0C20}"/>
                </a:ext>
              </a:extLst>
            </p:cNvPr>
            <p:cNvSpPr/>
            <p:nvPr userDrawn="1"/>
          </p:nvSpPr>
          <p:spPr>
            <a:xfrm>
              <a:off x="5856912" y="6531698"/>
              <a:ext cx="88063" cy="84152"/>
            </a:xfrm>
            <a:prstGeom prst="mathPlus">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pic>
          <p:nvPicPr>
            <p:cNvPr id="22" name="Acc_Digital_ALLBLACK">
              <a:extLst>
                <a:ext uri="{FF2B5EF4-FFF2-40B4-BE49-F238E27FC236}">
                  <a16:creationId xmlns:a16="http://schemas.microsoft.com/office/drawing/2014/main" id="{65205957-85A7-4B88-AEBA-DC8C52C9EE5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4402"/>
            <a:stretch/>
          </p:blipFill>
          <p:spPr>
            <a:xfrm>
              <a:off x="5969344" y="6499573"/>
              <a:ext cx="401940" cy="122089"/>
            </a:xfrm>
            <a:prstGeom prst="rect">
              <a:avLst/>
            </a:prstGeom>
          </p:spPr>
        </p:pic>
        <p:pic>
          <p:nvPicPr>
            <p:cNvPr id="23" name="Picture 22">
              <a:extLst>
                <a:ext uri="{FF2B5EF4-FFF2-40B4-BE49-F238E27FC236}">
                  <a16:creationId xmlns:a16="http://schemas.microsoft.com/office/drawing/2014/main" id="{B1EBCF7A-23C4-462A-AFA6-713C09061313}"/>
                </a:ext>
              </a:extLst>
            </p:cNvPr>
            <p:cNvPicPr>
              <a:picLocks noChangeAspect="1"/>
            </p:cNvPicPr>
            <p:nvPr userDrawn="1"/>
          </p:nvPicPr>
          <p:blipFill>
            <a:blip r:embed="rId3"/>
            <a:stretch>
              <a:fillRect/>
            </a:stretch>
          </p:blipFill>
          <p:spPr>
            <a:xfrm>
              <a:off x="5418107" y="6512729"/>
              <a:ext cx="416730" cy="122089"/>
            </a:xfrm>
            <a:prstGeom prst="rect">
              <a:avLst/>
            </a:prstGeom>
          </p:spPr>
        </p:pic>
        <p:pic>
          <p:nvPicPr>
            <p:cNvPr id="24" name="Picture 23">
              <a:extLst>
                <a:ext uri="{FF2B5EF4-FFF2-40B4-BE49-F238E27FC236}">
                  <a16:creationId xmlns:a16="http://schemas.microsoft.com/office/drawing/2014/main" id="{B45AEFCF-7239-4DE5-98ED-4D3005A9ADA0}"/>
                </a:ext>
              </a:extLst>
            </p:cNvPr>
            <p:cNvPicPr>
              <a:picLocks noChangeAspect="1"/>
            </p:cNvPicPr>
            <p:nvPr userDrawn="1"/>
          </p:nvPicPr>
          <p:blipFill>
            <a:blip r:embed="rId4"/>
            <a:stretch>
              <a:fillRect/>
            </a:stretch>
          </p:blipFill>
          <p:spPr>
            <a:xfrm>
              <a:off x="6500690" y="6485047"/>
              <a:ext cx="273203" cy="190938"/>
            </a:xfrm>
            <a:prstGeom prst="rect">
              <a:avLst/>
            </a:prstGeom>
          </p:spPr>
        </p:pic>
        <p:sp>
          <p:nvSpPr>
            <p:cNvPr id="25" name="Plus Sign 24">
              <a:extLst>
                <a:ext uri="{FF2B5EF4-FFF2-40B4-BE49-F238E27FC236}">
                  <a16:creationId xmlns:a16="http://schemas.microsoft.com/office/drawing/2014/main" id="{4CBA734F-68E5-4651-BFEC-C8BAB3F378CE}"/>
                </a:ext>
              </a:extLst>
            </p:cNvPr>
            <p:cNvSpPr/>
            <p:nvPr userDrawn="1"/>
          </p:nvSpPr>
          <p:spPr>
            <a:xfrm>
              <a:off x="6395653" y="6531698"/>
              <a:ext cx="88063" cy="84152"/>
            </a:xfrm>
            <a:prstGeom prst="mathPlus">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grpSp>
    </p:spTree>
    <p:extLst>
      <p:ext uri="{BB962C8B-B14F-4D97-AF65-F5344CB8AC3E}">
        <p14:creationId xmlns:p14="http://schemas.microsoft.com/office/powerpoint/2010/main" val="28657574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pic>
        <p:nvPicPr>
          <p:cNvPr id="5" name="Picture 1" descr="Mondelez_Powerpoint24.jpg"/>
          <p:cNvPicPr>
            <a:picLocks noChangeAspect="1"/>
          </p:cNvPicPr>
          <p:nvPr userDrawn="1"/>
        </p:nvPicPr>
        <p:blipFill>
          <a:blip r:embed="rId2" cstate="screen"/>
          <a:srcRect/>
          <a:stretch>
            <a:fillRect/>
          </a:stretch>
        </p:blipFill>
        <p:spPr bwMode="auto">
          <a:xfrm>
            <a:off x="0" y="36096"/>
            <a:ext cx="12192000" cy="6858000"/>
          </a:xfrm>
          <a:prstGeom prst="rect">
            <a:avLst/>
          </a:prstGeom>
          <a:noFill/>
          <a:ln w="9525">
            <a:noFill/>
            <a:miter lim="800000"/>
            <a:headEnd/>
            <a:tailEnd/>
          </a:ln>
        </p:spPr>
      </p:pic>
      <p:sp>
        <p:nvSpPr>
          <p:cNvPr id="2" name="Title 1"/>
          <p:cNvSpPr>
            <a:spLocks noGrp="1"/>
          </p:cNvSpPr>
          <p:nvPr>
            <p:ph type="title"/>
          </p:nvPr>
        </p:nvSpPr>
        <p:spPr>
          <a:xfrm>
            <a:off x="101600" y="-76200"/>
            <a:ext cx="11182349" cy="923925"/>
          </a:xfrm>
          <a:prstGeom prst="rect">
            <a:avLst/>
          </a:prstGeom>
        </p:spPr>
        <p:txBody>
          <a:bodyPr lIns="87248" tIns="43624" rIns="87248" bIns="43624"/>
          <a:lstStyle>
            <a:lvl1pPr>
              <a:defRPr lang="en-US">
                <a:cs typeface="ＭＳ Ｐゴシック" charset="-128"/>
              </a:defRPr>
            </a:lvl1pPr>
          </a:lstStyle>
          <a:p>
            <a:pPr lvl="0"/>
            <a:r>
              <a:rPr lang="en-US"/>
              <a:t>Click to edit Master title style</a:t>
            </a:r>
          </a:p>
        </p:txBody>
      </p:sp>
      <p:sp>
        <p:nvSpPr>
          <p:cNvPr id="3" name="Content Placeholder 2"/>
          <p:cNvSpPr>
            <a:spLocks noGrp="1"/>
          </p:cNvSpPr>
          <p:nvPr>
            <p:ph idx="1"/>
          </p:nvPr>
        </p:nvSpPr>
        <p:spPr>
          <a:xfrm>
            <a:off x="304800" y="838200"/>
            <a:ext cx="11817349" cy="4114800"/>
          </a:xfrm>
          <a:prstGeom prst="rect">
            <a:avLst/>
          </a:prstGeom>
        </p:spPr>
        <p:txBody>
          <a:bodyPr lIns="87248" tIns="43624" rIns="87248" bIns="43624">
            <a:normAutofit/>
          </a:bodyPr>
          <a:lstStyle>
            <a:lvl1pPr marL="285750" indent="-285750" algn="l" defTabSz="914400" rtl="0" eaLnBrk="1" latinLnBrk="0" hangingPunct="1">
              <a:lnSpc>
                <a:spcPct val="90000"/>
              </a:lnSpc>
              <a:buFont typeface="Arial" pitchFamily="34" charset="0"/>
              <a:buChar char="•"/>
              <a:defRPr lang="en-US" sz="1400" kern="1200" dirty="0" smtClean="0">
                <a:solidFill>
                  <a:schemeClr val="accent4">
                    <a:lumMod val="50000"/>
                  </a:schemeClr>
                </a:solidFill>
                <a:latin typeface="+mn-lt"/>
                <a:ea typeface="+mn-ea"/>
                <a:cs typeface="Arial" pitchFamily="34" charset="0"/>
              </a:defRPr>
            </a:lvl1pPr>
            <a:lvl2pPr marL="285750" indent="-285750" algn="l" defTabSz="914400" rtl="0" eaLnBrk="1" latinLnBrk="0" hangingPunct="1">
              <a:lnSpc>
                <a:spcPct val="90000"/>
              </a:lnSpc>
              <a:buFont typeface="Arial" pitchFamily="34" charset="0"/>
              <a:buChar char="•"/>
              <a:defRPr lang="en-US" sz="1400" kern="1200" dirty="0" smtClean="0">
                <a:solidFill>
                  <a:schemeClr val="accent4">
                    <a:lumMod val="50000"/>
                  </a:schemeClr>
                </a:solidFill>
                <a:latin typeface="+mn-lt"/>
                <a:ea typeface="+mn-ea"/>
                <a:cs typeface="Arial" pitchFamily="34" charset="0"/>
              </a:defRPr>
            </a:lvl2pPr>
            <a:lvl3pPr marL="285750" indent="-285750" algn="l" defTabSz="914400" rtl="0" eaLnBrk="1" latinLnBrk="0" hangingPunct="1">
              <a:lnSpc>
                <a:spcPct val="90000"/>
              </a:lnSpc>
              <a:buFont typeface="Arial" pitchFamily="34" charset="0"/>
              <a:buChar char="•"/>
              <a:defRPr lang="en-US" sz="1400" kern="1200" dirty="0" smtClean="0">
                <a:solidFill>
                  <a:schemeClr val="accent4">
                    <a:lumMod val="50000"/>
                  </a:schemeClr>
                </a:solidFill>
                <a:latin typeface="+mn-lt"/>
                <a:ea typeface="+mn-ea"/>
                <a:cs typeface="Arial" pitchFamily="34" charset="0"/>
              </a:defRPr>
            </a:lvl3pPr>
          </a:lstStyle>
          <a:p>
            <a:pPr lvl="0"/>
            <a:r>
              <a:rPr lang="en-US" dirty="0"/>
              <a:t>Click to edit Master text styles</a:t>
            </a:r>
          </a:p>
          <a:p>
            <a:pPr lvl="1"/>
            <a:r>
              <a:rPr lang="en-US" dirty="0"/>
              <a:t>Second level</a:t>
            </a:r>
          </a:p>
          <a:p>
            <a:pPr lvl="2"/>
            <a:r>
              <a:rPr lang="en-US" dirty="0"/>
              <a:t>Third level</a:t>
            </a:r>
          </a:p>
        </p:txBody>
      </p:sp>
      <p:sp>
        <p:nvSpPr>
          <p:cNvPr id="4" name="Rectangle 10"/>
          <p:cNvSpPr>
            <a:spLocks noGrp="1" noChangeArrowheads="1"/>
          </p:cNvSpPr>
          <p:nvPr>
            <p:ph type="sldNum" sz="quarter" idx="10"/>
          </p:nvPr>
        </p:nvSpPr>
        <p:spPr>
          <a:xfrm>
            <a:off x="11480800" y="6611522"/>
            <a:ext cx="609600" cy="282575"/>
          </a:xfrm>
          <a:prstGeom prst="rect">
            <a:avLst/>
          </a:prstGeom>
          <a:ln/>
        </p:spPr>
        <p:txBody>
          <a:bodyPr lIns="87248" tIns="43624" rIns="87248" bIns="43624"/>
          <a:lstStyle>
            <a:lvl1pPr>
              <a:defRPr sz="1000">
                <a:latin typeface="+mn-lt"/>
              </a:defRPr>
            </a:lvl1pPr>
          </a:lstStyle>
          <a:p>
            <a:pPr defTabSz="455621" fontAlgn="base">
              <a:spcBef>
                <a:spcPct val="0"/>
              </a:spcBef>
              <a:spcAft>
                <a:spcPct val="0"/>
              </a:spcAft>
              <a:defRPr/>
            </a:pPr>
            <a:fld id="{5276565E-5A9B-4B05-83C2-0CC7C2C924A0}" type="slidenum">
              <a:rPr lang="en-US" smtClean="0">
                <a:solidFill>
                  <a:prstClr val="black"/>
                </a:solidFill>
                <a:ea typeface="ＭＳ Ｐゴシック" pitchFamily="34" charset="-128"/>
              </a:rPr>
              <a:pPr defTabSz="455621" fontAlgn="base">
                <a:spcBef>
                  <a:spcPct val="0"/>
                </a:spcBef>
                <a:spcAft>
                  <a:spcPct val="0"/>
                </a:spcAft>
                <a:defRPr/>
              </a:pPr>
              <a:t>‹#›</a:t>
            </a:fld>
            <a:endParaRPr lang="en-US" dirty="0">
              <a:solidFill>
                <a:prstClr val="black"/>
              </a:solidFill>
              <a:ea typeface="ＭＳ Ｐゴシック" pitchFamily="34" charset="-128"/>
            </a:endParaRPr>
          </a:p>
        </p:txBody>
      </p:sp>
      <p:sp>
        <p:nvSpPr>
          <p:cNvPr id="7" name="TextBox 6"/>
          <p:cNvSpPr txBox="1"/>
          <p:nvPr userDrawn="1"/>
        </p:nvSpPr>
        <p:spPr>
          <a:xfrm>
            <a:off x="3556000" y="6456364"/>
            <a:ext cx="4978400" cy="261937"/>
          </a:xfrm>
          <a:prstGeom prst="rect">
            <a:avLst/>
          </a:prstGeom>
          <a:noFill/>
        </p:spPr>
        <p:txBody>
          <a:bodyP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small" spc="0" normalizeH="0" baseline="0" noProof="0" dirty="0">
                <a:ln>
                  <a:noFill/>
                </a:ln>
                <a:solidFill>
                  <a:srgbClr val="595959"/>
                </a:solidFill>
                <a:effectLst/>
                <a:uLnTx/>
                <a:uFillTx/>
                <a:latin typeface="Arial"/>
                <a:cs typeface="+mn-cs"/>
              </a:rPr>
              <a:t>Faster – Better – Cheaper</a:t>
            </a:r>
          </a:p>
        </p:txBody>
      </p:sp>
      <p:pic>
        <p:nvPicPr>
          <p:cNvPr id="8" name="Picture 50" descr="C:\Users\fervx252\AppData\Local\Microsoft\Windows\Temporary Internet Files\Content.Word\MDLZ_BS_Lockup_Centered_4color.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451" y="6235700"/>
            <a:ext cx="21336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9119187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96F2E2-9191-42BA-BF70-22A3625FEA6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0CEEF25-D655-4626-9821-DCC150AF84C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B0F89C34-9D9E-4BFA-AA93-301C2CC292D7}"/>
              </a:ext>
            </a:extLst>
          </p:cNvPr>
          <p:cNvSpPr>
            <a:spLocks noGrp="1"/>
          </p:cNvSpPr>
          <p:nvPr>
            <p:ph type="dt" sz="half" idx="10"/>
          </p:nvPr>
        </p:nvSpPr>
        <p:spPr/>
        <p:txBody>
          <a:bodyPr/>
          <a:lstStyle/>
          <a:p>
            <a:fld id="{8B56F3F2-AA82-4075-A628-ECFF0FC36765}" type="datetimeFigureOut">
              <a:rPr lang="en-GB" smtClean="0"/>
              <a:t>08/07/2022</a:t>
            </a:fld>
            <a:endParaRPr lang="en-GB"/>
          </a:p>
        </p:txBody>
      </p:sp>
      <p:sp>
        <p:nvSpPr>
          <p:cNvPr id="5" name="Footer Placeholder 4">
            <a:extLst>
              <a:ext uri="{FF2B5EF4-FFF2-40B4-BE49-F238E27FC236}">
                <a16:creationId xmlns:a16="http://schemas.microsoft.com/office/drawing/2014/main" id="{EE1BF126-D61A-4E52-B012-B2A1DD9FCDB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594E5B2-8221-47A8-8CD3-504CCE62BDE2}"/>
              </a:ext>
            </a:extLst>
          </p:cNvPr>
          <p:cNvSpPr>
            <a:spLocks noGrp="1"/>
          </p:cNvSpPr>
          <p:nvPr>
            <p:ph type="sldNum" sz="quarter" idx="12"/>
          </p:nvPr>
        </p:nvSpPr>
        <p:spPr/>
        <p:txBody>
          <a:bodyPr/>
          <a:lstStyle/>
          <a:p>
            <a:fld id="{7350204B-17B5-4E7D-A831-866B33A6AB18}" type="slidenum">
              <a:rPr lang="en-GB" smtClean="0"/>
              <a:t>‹#›</a:t>
            </a:fld>
            <a:endParaRPr lang="en-GB"/>
          </a:p>
        </p:txBody>
      </p:sp>
    </p:spTree>
    <p:extLst>
      <p:ext uri="{BB962C8B-B14F-4D97-AF65-F5344CB8AC3E}">
        <p14:creationId xmlns:p14="http://schemas.microsoft.com/office/powerpoint/2010/main" val="18811638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BF307-818F-4A4D-ADAB-377DE455CB0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B96E008-5640-4025-AF2C-6001962F64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4C385C0-06C8-46B1-80C9-5CE7FD47AAFD}"/>
              </a:ext>
            </a:extLst>
          </p:cNvPr>
          <p:cNvSpPr>
            <a:spLocks noGrp="1"/>
          </p:cNvSpPr>
          <p:nvPr>
            <p:ph type="dt" sz="half" idx="10"/>
          </p:nvPr>
        </p:nvSpPr>
        <p:spPr/>
        <p:txBody>
          <a:bodyPr/>
          <a:lstStyle/>
          <a:p>
            <a:fld id="{8B56F3F2-AA82-4075-A628-ECFF0FC36765}" type="datetimeFigureOut">
              <a:rPr lang="en-GB" smtClean="0"/>
              <a:t>08/07/2022</a:t>
            </a:fld>
            <a:endParaRPr lang="en-GB"/>
          </a:p>
        </p:txBody>
      </p:sp>
      <p:sp>
        <p:nvSpPr>
          <p:cNvPr id="5" name="Footer Placeholder 4">
            <a:extLst>
              <a:ext uri="{FF2B5EF4-FFF2-40B4-BE49-F238E27FC236}">
                <a16:creationId xmlns:a16="http://schemas.microsoft.com/office/drawing/2014/main" id="{FDC71592-47A5-442C-8839-C56134A17A6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802077F-5F88-48AF-ABB6-417921E56194}"/>
              </a:ext>
            </a:extLst>
          </p:cNvPr>
          <p:cNvSpPr>
            <a:spLocks noGrp="1"/>
          </p:cNvSpPr>
          <p:nvPr>
            <p:ph type="sldNum" sz="quarter" idx="12"/>
          </p:nvPr>
        </p:nvSpPr>
        <p:spPr/>
        <p:txBody>
          <a:bodyPr/>
          <a:lstStyle/>
          <a:p>
            <a:fld id="{7350204B-17B5-4E7D-A831-866B33A6AB18}" type="slidenum">
              <a:rPr lang="en-GB" smtClean="0"/>
              <a:t>‹#›</a:t>
            </a:fld>
            <a:endParaRPr lang="en-GB"/>
          </a:p>
        </p:txBody>
      </p:sp>
    </p:spTree>
    <p:extLst>
      <p:ext uri="{BB962C8B-B14F-4D97-AF65-F5344CB8AC3E}">
        <p14:creationId xmlns:p14="http://schemas.microsoft.com/office/powerpoint/2010/main" val="166740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CA86B-E3B3-49F0-AECC-A6B1D9A722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DC615B7-CD3A-4041-AA77-6FCA32256C7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24BAC8B-966B-44F4-B7E5-EEF9B1D5958A}"/>
              </a:ext>
            </a:extLst>
          </p:cNvPr>
          <p:cNvSpPr>
            <a:spLocks noGrp="1"/>
          </p:cNvSpPr>
          <p:nvPr>
            <p:ph type="dt" sz="half" idx="10"/>
          </p:nvPr>
        </p:nvSpPr>
        <p:spPr/>
        <p:txBody>
          <a:bodyPr/>
          <a:lstStyle/>
          <a:p>
            <a:fld id="{8B56F3F2-AA82-4075-A628-ECFF0FC36765}" type="datetimeFigureOut">
              <a:rPr lang="en-GB" smtClean="0"/>
              <a:t>08/07/2022</a:t>
            </a:fld>
            <a:endParaRPr lang="en-GB"/>
          </a:p>
        </p:txBody>
      </p:sp>
      <p:sp>
        <p:nvSpPr>
          <p:cNvPr id="5" name="Footer Placeholder 4">
            <a:extLst>
              <a:ext uri="{FF2B5EF4-FFF2-40B4-BE49-F238E27FC236}">
                <a16:creationId xmlns:a16="http://schemas.microsoft.com/office/drawing/2014/main" id="{BF69EC72-B8EF-43FB-A634-1536F9CB895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4AD20E9-9238-463E-BE1A-7B8AB7E65FD1}"/>
              </a:ext>
            </a:extLst>
          </p:cNvPr>
          <p:cNvSpPr>
            <a:spLocks noGrp="1"/>
          </p:cNvSpPr>
          <p:nvPr>
            <p:ph type="sldNum" sz="quarter" idx="12"/>
          </p:nvPr>
        </p:nvSpPr>
        <p:spPr/>
        <p:txBody>
          <a:bodyPr/>
          <a:lstStyle/>
          <a:p>
            <a:fld id="{7350204B-17B5-4E7D-A831-866B33A6AB18}" type="slidenum">
              <a:rPr lang="en-GB" smtClean="0"/>
              <a:t>‹#›</a:t>
            </a:fld>
            <a:endParaRPr lang="en-GB"/>
          </a:p>
        </p:txBody>
      </p:sp>
    </p:spTree>
    <p:extLst>
      <p:ext uri="{BB962C8B-B14F-4D97-AF65-F5344CB8AC3E}">
        <p14:creationId xmlns:p14="http://schemas.microsoft.com/office/powerpoint/2010/main" val="11651038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6153E6-15B9-4D61-BF54-33BE0A1A02D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16B8026-2596-4853-B63B-6336C66064F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61A76E3D-95D8-4DA1-BD1F-1AA313B2C86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24EEA3B-A8EB-4242-BA86-F05FACB415CB}"/>
              </a:ext>
            </a:extLst>
          </p:cNvPr>
          <p:cNvSpPr>
            <a:spLocks noGrp="1"/>
          </p:cNvSpPr>
          <p:nvPr>
            <p:ph type="dt" sz="half" idx="10"/>
          </p:nvPr>
        </p:nvSpPr>
        <p:spPr/>
        <p:txBody>
          <a:bodyPr/>
          <a:lstStyle/>
          <a:p>
            <a:fld id="{8B56F3F2-AA82-4075-A628-ECFF0FC36765}" type="datetimeFigureOut">
              <a:rPr lang="en-GB" smtClean="0"/>
              <a:t>08/07/2022</a:t>
            </a:fld>
            <a:endParaRPr lang="en-GB"/>
          </a:p>
        </p:txBody>
      </p:sp>
      <p:sp>
        <p:nvSpPr>
          <p:cNvPr id="6" name="Footer Placeholder 5">
            <a:extLst>
              <a:ext uri="{FF2B5EF4-FFF2-40B4-BE49-F238E27FC236}">
                <a16:creationId xmlns:a16="http://schemas.microsoft.com/office/drawing/2014/main" id="{AF899C92-E74E-4799-AC15-94FE0C05C30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5817F354-4C4A-4358-BD1E-647ECF5FD81A}"/>
              </a:ext>
            </a:extLst>
          </p:cNvPr>
          <p:cNvSpPr>
            <a:spLocks noGrp="1"/>
          </p:cNvSpPr>
          <p:nvPr>
            <p:ph type="sldNum" sz="quarter" idx="12"/>
          </p:nvPr>
        </p:nvSpPr>
        <p:spPr/>
        <p:txBody>
          <a:bodyPr/>
          <a:lstStyle/>
          <a:p>
            <a:fld id="{7350204B-17B5-4E7D-A831-866B33A6AB18}" type="slidenum">
              <a:rPr lang="en-GB" smtClean="0"/>
              <a:t>‹#›</a:t>
            </a:fld>
            <a:endParaRPr lang="en-GB"/>
          </a:p>
        </p:txBody>
      </p:sp>
    </p:spTree>
    <p:extLst>
      <p:ext uri="{BB962C8B-B14F-4D97-AF65-F5344CB8AC3E}">
        <p14:creationId xmlns:p14="http://schemas.microsoft.com/office/powerpoint/2010/main" val="17887647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B2939A-4B58-4D20-9B1D-97D6CDE55B6A}"/>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6A9A275-EF7E-4FFE-8BF1-82E17160228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A9FE058-52AD-419C-B667-8869B2720A0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967CAA9-0FA3-4163-A52C-AE9C0AD6A77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39A75CA-8A4E-43EC-9CB3-AE81D23615D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375675B2-9A3D-45BE-B639-DE545B204C89}"/>
              </a:ext>
            </a:extLst>
          </p:cNvPr>
          <p:cNvSpPr>
            <a:spLocks noGrp="1"/>
          </p:cNvSpPr>
          <p:nvPr>
            <p:ph type="dt" sz="half" idx="10"/>
          </p:nvPr>
        </p:nvSpPr>
        <p:spPr/>
        <p:txBody>
          <a:bodyPr/>
          <a:lstStyle/>
          <a:p>
            <a:fld id="{8B56F3F2-AA82-4075-A628-ECFF0FC36765}" type="datetimeFigureOut">
              <a:rPr lang="en-GB" smtClean="0"/>
              <a:t>08/07/2022</a:t>
            </a:fld>
            <a:endParaRPr lang="en-GB"/>
          </a:p>
        </p:txBody>
      </p:sp>
      <p:sp>
        <p:nvSpPr>
          <p:cNvPr id="8" name="Footer Placeholder 7">
            <a:extLst>
              <a:ext uri="{FF2B5EF4-FFF2-40B4-BE49-F238E27FC236}">
                <a16:creationId xmlns:a16="http://schemas.microsoft.com/office/drawing/2014/main" id="{4C0F0CFF-5E38-439B-AD5F-B6A7CCE7500A}"/>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6574B9D-06A0-4C02-B05B-F307BAF9815C}"/>
              </a:ext>
            </a:extLst>
          </p:cNvPr>
          <p:cNvSpPr>
            <a:spLocks noGrp="1"/>
          </p:cNvSpPr>
          <p:nvPr>
            <p:ph type="sldNum" sz="quarter" idx="12"/>
          </p:nvPr>
        </p:nvSpPr>
        <p:spPr/>
        <p:txBody>
          <a:bodyPr/>
          <a:lstStyle/>
          <a:p>
            <a:fld id="{7350204B-17B5-4E7D-A831-866B33A6AB18}" type="slidenum">
              <a:rPr lang="en-GB" smtClean="0"/>
              <a:t>‹#›</a:t>
            </a:fld>
            <a:endParaRPr lang="en-GB"/>
          </a:p>
        </p:txBody>
      </p:sp>
    </p:spTree>
    <p:extLst>
      <p:ext uri="{BB962C8B-B14F-4D97-AF65-F5344CB8AC3E}">
        <p14:creationId xmlns:p14="http://schemas.microsoft.com/office/powerpoint/2010/main" val="33639305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C25654-41A5-43FA-9B3D-30723C4A0FE2}"/>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296DC0DA-0880-454D-A3A6-4829D8FDCEFC}"/>
              </a:ext>
            </a:extLst>
          </p:cNvPr>
          <p:cNvSpPr>
            <a:spLocks noGrp="1"/>
          </p:cNvSpPr>
          <p:nvPr>
            <p:ph type="dt" sz="half" idx="10"/>
          </p:nvPr>
        </p:nvSpPr>
        <p:spPr/>
        <p:txBody>
          <a:bodyPr/>
          <a:lstStyle/>
          <a:p>
            <a:fld id="{8B56F3F2-AA82-4075-A628-ECFF0FC36765}" type="datetimeFigureOut">
              <a:rPr lang="en-GB" smtClean="0"/>
              <a:t>08/07/2022</a:t>
            </a:fld>
            <a:endParaRPr lang="en-GB"/>
          </a:p>
        </p:txBody>
      </p:sp>
      <p:sp>
        <p:nvSpPr>
          <p:cNvPr id="4" name="Footer Placeholder 3">
            <a:extLst>
              <a:ext uri="{FF2B5EF4-FFF2-40B4-BE49-F238E27FC236}">
                <a16:creationId xmlns:a16="http://schemas.microsoft.com/office/drawing/2014/main" id="{C3B365D3-1FBA-4E44-8283-8CE4C22B0FCA}"/>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093F7589-B7FF-44BB-80D9-52EE3EE27712}"/>
              </a:ext>
            </a:extLst>
          </p:cNvPr>
          <p:cNvSpPr>
            <a:spLocks noGrp="1"/>
          </p:cNvSpPr>
          <p:nvPr>
            <p:ph type="sldNum" sz="quarter" idx="12"/>
          </p:nvPr>
        </p:nvSpPr>
        <p:spPr/>
        <p:txBody>
          <a:bodyPr/>
          <a:lstStyle/>
          <a:p>
            <a:fld id="{7350204B-17B5-4E7D-A831-866B33A6AB18}" type="slidenum">
              <a:rPr lang="en-GB" smtClean="0"/>
              <a:t>‹#›</a:t>
            </a:fld>
            <a:endParaRPr lang="en-GB"/>
          </a:p>
        </p:txBody>
      </p:sp>
    </p:spTree>
    <p:extLst>
      <p:ext uri="{BB962C8B-B14F-4D97-AF65-F5344CB8AC3E}">
        <p14:creationId xmlns:p14="http://schemas.microsoft.com/office/powerpoint/2010/main" val="37869646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45B7208-C88F-447B-A286-D711AE328629}"/>
              </a:ext>
            </a:extLst>
          </p:cNvPr>
          <p:cNvSpPr>
            <a:spLocks noGrp="1"/>
          </p:cNvSpPr>
          <p:nvPr>
            <p:ph type="dt" sz="half" idx="10"/>
          </p:nvPr>
        </p:nvSpPr>
        <p:spPr/>
        <p:txBody>
          <a:bodyPr/>
          <a:lstStyle/>
          <a:p>
            <a:fld id="{8B56F3F2-AA82-4075-A628-ECFF0FC36765}" type="datetimeFigureOut">
              <a:rPr lang="en-GB" smtClean="0"/>
              <a:t>08/07/2022</a:t>
            </a:fld>
            <a:endParaRPr lang="en-GB"/>
          </a:p>
        </p:txBody>
      </p:sp>
      <p:sp>
        <p:nvSpPr>
          <p:cNvPr id="3" name="Footer Placeholder 2">
            <a:extLst>
              <a:ext uri="{FF2B5EF4-FFF2-40B4-BE49-F238E27FC236}">
                <a16:creationId xmlns:a16="http://schemas.microsoft.com/office/drawing/2014/main" id="{22C8680E-FD05-4DB2-9D5A-6EF77920588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704F97A4-62D5-43FD-B731-E9B5C9021F9E}"/>
              </a:ext>
            </a:extLst>
          </p:cNvPr>
          <p:cNvSpPr>
            <a:spLocks noGrp="1"/>
          </p:cNvSpPr>
          <p:nvPr>
            <p:ph type="sldNum" sz="quarter" idx="12"/>
          </p:nvPr>
        </p:nvSpPr>
        <p:spPr/>
        <p:txBody>
          <a:bodyPr/>
          <a:lstStyle/>
          <a:p>
            <a:fld id="{7350204B-17B5-4E7D-A831-866B33A6AB18}" type="slidenum">
              <a:rPr lang="en-GB" smtClean="0"/>
              <a:t>‹#›</a:t>
            </a:fld>
            <a:endParaRPr lang="en-GB"/>
          </a:p>
        </p:txBody>
      </p:sp>
    </p:spTree>
    <p:extLst>
      <p:ext uri="{BB962C8B-B14F-4D97-AF65-F5344CB8AC3E}">
        <p14:creationId xmlns:p14="http://schemas.microsoft.com/office/powerpoint/2010/main" val="28918396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image" Target="../media/image3.emf"/><Relationship Id="rId2" Type="http://schemas.openxmlformats.org/officeDocument/2006/relationships/slideLayout" Target="../slideLayouts/slideLayout4.xml"/><Relationship Id="rId16" Type="http://schemas.openxmlformats.org/officeDocument/2006/relationships/oleObject" Target="../embeddings/oleObject1.bin"/><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5" Type="http://schemas.openxmlformats.org/officeDocument/2006/relationships/tags" Target="../tags/tag1.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600" y="-228600"/>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latin typeface="Verdana" pitchFamily="34" charset="0"/>
                <a:ea typeface="Verdana" pitchFamily="34" charset="0"/>
                <a:cs typeface="Verdana" pitchFamily="34" charset="0"/>
              </a:defRPr>
            </a:lvl1pPr>
          </a:lstStyle>
          <a:p>
            <a:fld id="{225ADE59-1F45-403F-9BD4-CB0123E9F7F7}" type="datetime1">
              <a:rPr lang="en-US" smtClean="0"/>
              <a:t>7/8/2022</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latin typeface="Verdana" pitchFamily="34" charset="0"/>
                <a:ea typeface="Verdana" pitchFamily="34" charset="0"/>
                <a:cs typeface="Verdana" pitchFamily="34" charset="0"/>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latin typeface="Verdana" pitchFamily="34" charset="0"/>
                <a:ea typeface="Verdana" pitchFamily="34" charset="0"/>
                <a:cs typeface="Verdana" pitchFamily="34" charset="0"/>
              </a:defRPr>
            </a:lvl1pPr>
          </a:lstStyle>
          <a:p>
            <a:fld id="{0ACC24F6-9834-40E5-BB57-6F1B789F57E4}" type="slidenum">
              <a:rPr lang="en-US" smtClean="0"/>
              <a:pPr/>
              <a:t>‹#›</a:t>
            </a:fld>
            <a:endParaRPr lang="en-US"/>
          </a:p>
        </p:txBody>
      </p:sp>
      <p:grpSp>
        <p:nvGrpSpPr>
          <p:cNvPr id="51" name="Group 6"/>
          <p:cNvGrpSpPr>
            <a:grpSpLocks/>
          </p:cNvGrpSpPr>
          <p:nvPr userDrawn="1"/>
        </p:nvGrpSpPr>
        <p:grpSpPr bwMode="auto">
          <a:xfrm>
            <a:off x="4097211" y="4259363"/>
            <a:ext cx="8106833" cy="2574925"/>
            <a:chOff x="3107483" y="4325496"/>
            <a:chExt cx="6078914" cy="2574629"/>
          </a:xfrm>
        </p:grpSpPr>
        <p:sp>
          <p:nvSpPr>
            <p:cNvPr id="52" name="Freeform 45"/>
            <p:cNvSpPr>
              <a:spLocks/>
            </p:cNvSpPr>
            <p:nvPr/>
          </p:nvSpPr>
          <p:spPr bwMode="ltGray">
            <a:xfrm rot="20386052">
              <a:off x="6932596" y="5689001"/>
              <a:ext cx="1798279" cy="1133345"/>
            </a:xfrm>
            <a:custGeom>
              <a:avLst/>
              <a:gdLst/>
              <a:ahLst/>
              <a:cxnLst/>
              <a:rect l="l" t="t" r="r" b="b"/>
              <a:pathLst>
                <a:path w="1798616" h="1132118">
                  <a:moveTo>
                    <a:pt x="1570446" y="265994"/>
                  </a:moveTo>
                  <a:cubicBezTo>
                    <a:pt x="1553847" y="257312"/>
                    <a:pt x="1535812" y="251538"/>
                    <a:pt x="1517224" y="249324"/>
                  </a:cubicBezTo>
                  <a:cubicBezTo>
                    <a:pt x="1492442" y="246370"/>
                    <a:pt x="1466677" y="249746"/>
                    <a:pt x="1442037" y="260995"/>
                  </a:cubicBezTo>
                  <a:cubicBezTo>
                    <a:pt x="1415153" y="269996"/>
                    <a:pt x="1406192" y="287995"/>
                    <a:pt x="1388269" y="305995"/>
                  </a:cubicBezTo>
                  <a:cubicBezTo>
                    <a:pt x="1388269" y="422993"/>
                    <a:pt x="1388269" y="548990"/>
                    <a:pt x="1370347" y="647988"/>
                  </a:cubicBezTo>
                  <a:cubicBezTo>
                    <a:pt x="1504763" y="638990"/>
                    <a:pt x="1657101" y="548990"/>
                    <a:pt x="1657101" y="404994"/>
                  </a:cubicBezTo>
                  <a:cubicBezTo>
                    <a:pt x="1657101" y="344245"/>
                    <a:pt x="1620243" y="292038"/>
                    <a:pt x="1570446" y="265994"/>
                  </a:cubicBezTo>
                  <a:close/>
                  <a:moveTo>
                    <a:pt x="1387647" y="0"/>
                  </a:moveTo>
                  <a:cubicBezTo>
                    <a:pt x="1387648" y="17969"/>
                    <a:pt x="1387647" y="71880"/>
                    <a:pt x="1387647" y="125790"/>
                  </a:cubicBezTo>
                  <a:cubicBezTo>
                    <a:pt x="1423384" y="107821"/>
                    <a:pt x="1459119" y="98836"/>
                    <a:pt x="1503792" y="98836"/>
                  </a:cubicBezTo>
                  <a:cubicBezTo>
                    <a:pt x="1584199" y="98836"/>
                    <a:pt x="1655670" y="134777"/>
                    <a:pt x="1709276" y="188685"/>
                  </a:cubicBezTo>
                  <a:cubicBezTo>
                    <a:pt x="1771815" y="251583"/>
                    <a:pt x="1798616" y="323462"/>
                    <a:pt x="1798616" y="404327"/>
                  </a:cubicBezTo>
                  <a:cubicBezTo>
                    <a:pt x="1798616" y="628954"/>
                    <a:pt x="1575263" y="790685"/>
                    <a:pt x="1369779" y="790685"/>
                  </a:cubicBezTo>
                  <a:cubicBezTo>
                    <a:pt x="1351911" y="790685"/>
                    <a:pt x="1342977" y="781700"/>
                    <a:pt x="1334042" y="781701"/>
                  </a:cubicBezTo>
                  <a:cubicBezTo>
                    <a:pt x="1226833" y="1033282"/>
                    <a:pt x="1039217" y="1132118"/>
                    <a:pt x="762259" y="1132118"/>
                  </a:cubicBezTo>
                  <a:cubicBezTo>
                    <a:pt x="762220" y="1132118"/>
                    <a:pt x="728032" y="1132118"/>
                    <a:pt x="693050" y="1132118"/>
                  </a:cubicBezTo>
                  <a:lnTo>
                    <a:pt x="137779" y="927461"/>
                  </a:lnTo>
                  <a:cubicBezTo>
                    <a:pt x="98994" y="877616"/>
                    <a:pt x="66142" y="817322"/>
                    <a:pt x="38597" y="745759"/>
                  </a:cubicBezTo>
                  <a:cubicBezTo>
                    <a:pt x="-14999" y="602023"/>
                    <a:pt x="2853" y="194"/>
                    <a:pt x="2860" y="0"/>
                  </a:cubicBezTo>
                  <a:cubicBezTo>
                    <a:pt x="2880" y="0"/>
                    <a:pt x="8189" y="0"/>
                    <a:pt x="1387647" y="0"/>
                  </a:cubicBezTo>
                  <a:close/>
                </a:path>
              </a:pathLst>
            </a:custGeom>
            <a:solidFill>
              <a:srgbClr val="BAC405"/>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53" name="Freeform 159"/>
            <p:cNvSpPr>
              <a:spLocks/>
            </p:cNvSpPr>
            <p:nvPr/>
          </p:nvSpPr>
          <p:spPr bwMode="ltGray">
            <a:xfrm rot="20390831">
              <a:off x="7215115" y="4871533"/>
              <a:ext cx="757086" cy="700007"/>
            </a:xfrm>
            <a:custGeom>
              <a:avLst/>
              <a:gdLst>
                <a:gd name="T0" fmla="*/ 3 w 124"/>
                <a:gd name="T1" fmla="*/ 115 h 115"/>
                <a:gd name="T2" fmla="*/ 11 w 124"/>
                <a:gd name="T3" fmla="*/ 95 h 115"/>
                <a:gd name="T4" fmla="*/ 40 w 124"/>
                <a:gd name="T5" fmla="*/ 81 h 115"/>
                <a:gd name="T6" fmla="*/ 67 w 124"/>
                <a:gd name="T7" fmla="*/ 87 h 115"/>
                <a:gd name="T8" fmla="*/ 107 w 124"/>
                <a:gd name="T9" fmla="*/ 71 h 115"/>
                <a:gd name="T10" fmla="*/ 79 w 124"/>
                <a:gd name="T11" fmla="*/ 7 h 115"/>
                <a:gd name="T12" fmla="*/ 1 w 124"/>
                <a:gd name="T13" fmla="*/ 80 h 115"/>
                <a:gd name="T14" fmla="*/ 3 w 124"/>
                <a:gd name="T15" fmla="*/ 115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115">
                  <a:moveTo>
                    <a:pt x="3" y="115"/>
                  </a:moveTo>
                  <a:cubicBezTo>
                    <a:pt x="3" y="107"/>
                    <a:pt x="8" y="99"/>
                    <a:pt x="11" y="95"/>
                  </a:cubicBezTo>
                  <a:cubicBezTo>
                    <a:pt x="18" y="86"/>
                    <a:pt x="28" y="80"/>
                    <a:pt x="40" y="81"/>
                  </a:cubicBezTo>
                  <a:cubicBezTo>
                    <a:pt x="49" y="82"/>
                    <a:pt x="58" y="86"/>
                    <a:pt x="67" y="87"/>
                  </a:cubicBezTo>
                  <a:cubicBezTo>
                    <a:pt x="82" y="89"/>
                    <a:pt x="98" y="84"/>
                    <a:pt x="107" y="71"/>
                  </a:cubicBezTo>
                  <a:cubicBezTo>
                    <a:pt x="124" y="46"/>
                    <a:pt x="108" y="12"/>
                    <a:pt x="79" y="7"/>
                  </a:cubicBezTo>
                  <a:cubicBezTo>
                    <a:pt x="37" y="0"/>
                    <a:pt x="3" y="43"/>
                    <a:pt x="1" y="80"/>
                  </a:cubicBezTo>
                  <a:cubicBezTo>
                    <a:pt x="0" y="91"/>
                    <a:pt x="0" y="103"/>
                    <a:pt x="3" y="115"/>
                  </a:cubicBezTo>
                </a:path>
              </a:pathLst>
            </a:custGeom>
            <a:solidFill>
              <a:srgbClr val="BAC405"/>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54" name="Freeform 160"/>
            <p:cNvSpPr>
              <a:spLocks/>
            </p:cNvSpPr>
            <p:nvPr/>
          </p:nvSpPr>
          <p:spPr bwMode="ltGray">
            <a:xfrm rot="20390831">
              <a:off x="6811970" y="5420745"/>
              <a:ext cx="428540" cy="414289"/>
            </a:xfrm>
            <a:custGeom>
              <a:avLst/>
              <a:gdLst>
                <a:gd name="T0" fmla="*/ 70 w 70"/>
                <a:gd name="T1" fmla="*/ 61 h 68"/>
                <a:gd name="T2" fmla="*/ 57 w 70"/>
                <a:gd name="T3" fmla="*/ 58 h 68"/>
                <a:gd name="T4" fmla="*/ 47 w 70"/>
                <a:gd name="T5" fmla="*/ 43 h 68"/>
                <a:gd name="T6" fmla="*/ 47 w 70"/>
                <a:gd name="T7" fmla="*/ 27 h 68"/>
                <a:gd name="T8" fmla="*/ 33 w 70"/>
                <a:gd name="T9" fmla="*/ 7 h 68"/>
                <a:gd name="T10" fmla="*/ 0 w 70"/>
                <a:gd name="T11" fmla="*/ 30 h 68"/>
                <a:gd name="T12" fmla="*/ 50 w 70"/>
                <a:gd name="T13" fmla="*/ 66 h 68"/>
                <a:gd name="T14" fmla="*/ 70 w 70"/>
                <a:gd name="T15" fmla="*/ 61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8">
                  <a:moveTo>
                    <a:pt x="70" y="61"/>
                  </a:moveTo>
                  <a:cubicBezTo>
                    <a:pt x="65" y="61"/>
                    <a:pt x="60" y="60"/>
                    <a:pt x="57" y="58"/>
                  </a:cubicBezTo>
                  <a:cubicBezTo>
                    <a:pt x="52" y="55"/>
                    <a:pt x="47" y="50"/>
                    <a:pt x="47" y="43"/>
                  </a:cubicBezTo>
                  <a:cubicBezTo>
                    <a:pt x="46" y="38"/>
                    <a:pt x="47" y="33"/>
                    <a:pt x="47" y="27"/>
                  </a:cubicBezTo>
                  <a:cubicBezTo>
                    <a:pt x="46" y="19"/>
                    <a:pt x="42" y="10"/>
                    <a:pt x="33" y="7"/>
                  </a:cubicBezTo>
                  <a:cubicBezTo>
                    <a:pt x="17" y="0"/>
                    <a:pt x="0" y="13"/>
                    <a:pt x="0" y="30"/>
                  </a:cubicBezTo>
                  <a:cubicBezTo>
                    <a:pt x="1" y="54"/>
                    <a:pt x="29" y="68"/>
                    <a:pt x="50" y="66"/>
                  </a:cubicBezTo>
                  <a:cubicBezTo>
                    <a:pt x="57" y="65"/>
                    <a:pt x="63" y="63"/>
                    <a:pt x="70" y="61"/>
                  </a:cubicBezTo>
                </a:path>
              </a:pathLst>
            </a:custGeom>
            <a:solidFill>
              <a:srgbClr val="BAC405"/>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55" name="Freeform 5"/>
            <p:cNvSpPr>
              <a:spLocks/>
            </p:cNvSpPr>
            <p:nvPr/>
          </p:nvSpPr>
          <p:spPr bwMode="ltGray">
            <a:xfrm rot="20457630">
              <a:off x="4239145" y="5493762"/>
              <a:ext cx="453935" cy="330162"/>
            </a:xfrm>
            <a:custGeom>
              <a:avLst/>
              <a:gdLst/>
              <a:ahLst/>
              <a:cxnLst/>
              <a:rect l="l" t="t" r="r" b="b"/>
              <a:pathLst>
                <a:path w="1362354" h="995174">
                  <a:moveTo>
                    <a:pt x="1126472" y="742063"/>
                  </a:moveTo>
                  <a:cubicBezTo>
                    <a:pt x="1102799" y="742063"/>
                    <a:pt x="1083609" y="761253"/>
                    <a:pt x="1083609" y="784926"/>
                  </a:cubicBezTo>
                  <a:cubicBezTo>
                    <a:pt x="1083609" y="808599"/>
                    <a:pt x="1102799" y="827789"/>
                    <a:pt x="1126472" y="827789"/>
                  </a:cubicBezTo>
                  <a:cubicBezTo>
                    <a:pt x="1150145" y="827789"/>
                    <a:pt x="1169335" y="808599"/>
                    <a:pt x="1169335" y="784926"/>
                  </a:cubicBezTo>
                  <a:cubicBezTo>
                    <a:pt x="1169335" y="761253"/>
                    <a:pt x="1150145" y="742063"/>
                    <a:pt x="1126472" y="742063"/>
                  </a:cubicBezTo>
                  <a:close/>
                  <a:moveTo>
                    <a:pt x="908984" y="742063"/>
                  </a:moveTo>
                  <a:cubicBezTo>
                    <a:pt x="883558" y="742063"/>
                    <a:pt x="862946" y="761253"/>
                    <a:pt x="862946" y="784926"/>
                  </a:cubicBezTo>
                  <a:cubicBezTo>
                    <a:pt x="862946" y="808599"/>
                    <a:pt x="883558" y="827789"/>
                    <a:pt x="908984" y="827789"/>
                  </a:cubicBezTo>
                  <a:cubicBezTo>
                    <a:pt x="934410" y="827789"/>
                    <a:pt x="955022" y="808599"/>
                    <a:pt x="955022" y="784926"/>
                  </a:cubicBezTo>
                  <a:cubicBezTo>
                    <a:pt x="955022" y="761253"/>
                    <a:pt x="934410" y="742063"/>
                    <a:pt x="908984" y="742063"/>
                  </a:cubicBezTo>
                  <a:close/>
                  <a:moveTo>
                    <a:pt x="689909" y="742063"/>
                  </a:moveTo>
                  <a:cubicBezTo>
                    <a:pt x="666236" y="742063"/>
                    <a:pt x="647046" y="761253"/>
                    <a:pt x="647046" y="784926"/>
                  </a:cubicBezTo>
                  <a:cubicBezTo>
                    <a:pt x="647046" y="808599"/>
                    <a:pt x="666236" y="827789"/>
                    <a:pt x="689909" y="827789"/>
                  </a:cubicBezTo>
                  <a:cubicBezTo>
                    <a:pt x="713582" y="827789"/>
                    <a:pt x="732772" y="808599"/>
                    <a:pt x="732772" y="784926"/>
                  </a:cubicBezTo>
                  <a:cubicBezTo>
                    <a:pt x="732772" y="761253"/>
                    <a:pt x="713582" y="742063"/>
                    <a:pt x="689909" y="742063"/>
                  </a:cubicBezTo>
                  <a:close/>
                  <a:moveTo>
                    <a:pt x="472422" y="742063"/>
                  </a:moveTo>
                  <a:cubicBezTo>
                    <a:pt x="446996" y="742063"/>
                    <a:pt x="426384" y="761253"/>
                    <a:pt x="426384" y="784926"/>
                  </a:cubicBezTo>
                  <a:cubicBezTo>
                    <a:pt x="426384" y="808599"/>
                    <a:pt x="446996" y="827789"/>
                    <a:pt x="472422" y="827789"/>
                  </a:cubicBezTo>
                  <a:cubicBezTo>
                    <a:pt x="497848" y="827789"/>
                    <a:pt x="518460" y="808599"/>
                    <a:pt x="518460" y="784926"/>
                  </a:cubicBezTo>
                  <a:cubicBezTo>
                    <a:pt x="518460" y="761253"/>
                    <a:pt x="497848" y="742063"/>
                    <a:pt x="472422" y="742063"/>
                  </a:cubicBezTo>
                  <a:close/>
                  <a:moveTo>
                    <a:pt x="258109" y="742063"/>
                  </a:moveTo>
                  <a:cubicBezTo>
                    <a:pt x="232683" y="742063"/>
                    <a:pt x="212071" y="761253"/>
                    <a:pt x="212071" y="784926"/>
                  </a:cubicBezTo>
                  <a:cubicBezTo>
                    <a:pt x="212071" y="808599"/>
                    <a:pt x="232683" y="827789"/>
                    <a:pt x="258109" y="827789"/>
                  </a:cubicBezTo>
                  <a:cubicBezTo>
                    <a:pt x="283535" y="827789"/>
                    <a:pt x="304147" y="808599"/>
                    <a:pt x="304147" y="784926"/>
                  </a:cubicBezTo>
                  <a:cubicBezTo>
                    <a:pt x="304147" y="761253"/>
                    <a:pt x="283535" y="742063"/>
                    <a:pt x="258109" y="742063"/>
                  </a:cubicBezTo>
                  <a:close/>
                  <a:moveTo>
                    <a:pt x="1126472" y="549975"/>
                  </a:moveTo>
                  <a:cubicBezTo>
                    <a:pt x="1102799" y="549975"/>
                    <a:pt x="1083609" y="569521"/>
                    <a:pt x="1083609" y="593632"/>
                  </a:cubicBezTo>
                  <a:cubicBezTo>
                    <a:pt x="1083609" y="617743"/>
                    <a:pt x="1102799" y="637289"/>
                    <a:pt x="1126472" y="637289"/>
                  </a:cubicBezTo>
                  <a:cubicBezTo>
                    <a:pt x="1150145" y="637289"/>
                    <a:pt x="1169335" y="617743"/>
                    <a:pt x="1169335" y="593632"/>
                  </a:cubicBezTo>
                  <a:cubicBezTo>
                    <a:pt x="1169335" y="569521"/>
                    <a:pt x="1150145" y="549975"/>
                    <a:pt x="1126472" y="549975"/>
                  </a:cubicBezTo>
                  <a:close/>
                  <a:moveTo>
                    <a:pt x="908984" y="549975"/>
                  </a:moveTo>
                  <a:cubicBezTo>
                    <a:pt x="883558" y="549975"/>
                    <a:pt x="862946" y="569521"/>
                    <a:pt x="862946" y="593632"/>
                  </a:cubicBezTo>
                  <a:cubicBezTo>
                    <a:pt x="862946" y="617743"/>
                    <a:pt x="883558" y="637289"/>
                    <a:pt x="908984" y="637289"/>
                  </a:cubicBezTo>
                  <a:cubicBezTo>
                    <a:pt x="934410" y="637289"/>
                    <a:pt x="955022" y="617743"/>
                    <a:pt x="955022" y="593632"/>
                  </a:cubicBezTo>
                  <a:cubicBezTo>
                    <a:pt x="955022" y="569521"/>
                    <a:pt x="934410" y="549975"/>
                    <a:pt x="908984" y="549975"/>
                  </a:cubicBezTo>
                  <a:close/>
                  <a:moveTo>
                    <a:pt x="689909" y="549975"/>
                  </a:moveTo>
                  <a:cubicBezTo>
                    <a:pt x="666236" y="549975"/>
                    <a:pt x="647046" y="569521"/>
                    <a:pt x="647046" y="593632"/>
                  </a:cubicBezTo>
                  <a:cubicBezTo>
                    <a:pt x="647046" y="617743"/>
                    <a:pt x="666236" y="637289"/>
                    <a:pt x="689909" y="637289"/>
                  </a:cubicBezTo>
                  <a:cubicBezTo>
                    <a:pt x="713582" y="637289"/>
                    <a:pt x="732772" y="617743"/>
                    <a:pt x="732772" y="593632"/>
                  </a:cubicBezTo>
                  <a:cubicBezTo>
                    <a:pt x="732772" y="569521"/>
                    <a:pt x="713582" y="549975"/>
                    <a:pt x="689909" y="549975"/>
                  </a:cubicBezTo>
                  <a:close/>
                  <a:moveTo>
                    <a:pt x="472422" y="549975"/>
                  </a:moveTo>
                  <a:cubicBezTo>
                    <a:pt x="446996" y="549975"/>
                    <a:pt x="426384" y="569521"/>
                    <a:pt x="426384" y="593632"/>
                  </a:cubicBezTo>
                  <a:cubicBezTo>
                    <a:pt x="426384" y="617743"/>
                    <a:pt x="446996" y="637289"/>
                    <a:pt x="472422" y="637289"/>
                  </a:cubicBezTo>
                  <a:cubicBezTo>
                    <a:pt x="497848" y="637289"/>
                    <a:pt x="518460" y="617743"/>
                    <a:pt x="518460" y="593632"/>
                  </a:cubicBezTo>
                  <a:cubicBezTo>
                    <a:pt x="518460" y="569521"/>
                    <a:pt x="497848" y="549975"/>
                    <a:pt x="472422" y="549975"/>
                  </a:cubicBezTo>
                  <a:close/>
                  <a:moveTo>
                    <a:pt x="258109" y="549975"/>
                  </a:moveTo>
                  <a:cubicBezTo>
                    <a:pt x="232683" y="549975"/>
                    <a:pt x="212071" y="569521"/>
                    <a:pt x="212071" y="593632"/>
                  </a:cubicBezTo>
                  <a:cubicBezTo>
                    <a:pt x="212071" y="617743"/>
                    <a:pt x="232683" y="637289"/>
                    <a:pt x="258109" y="637289"/>
                  </a:cubicBezTo>
                  <a:cubicBezTo>
                    <a:pt x="283535" y="637289"/>
                    <a:pt x="304147" y="617743"/>
                    <a:pt x="304147" y="593632"/>
                  </a:cubicBezTo>
                  <a:cubicBezTo>
                    <a:pt x="304147" y="569521"/>
                    <a:pt x="283535" y="549975"/>
                    <a:pt x="258109" y="549975"/>
                  </a:cubicBezTo>
                  <a:close/>
                  <a:moveTo>
                    <a:pt x="1126472" y="359475"/>
                  </a:moveTo>
                  <a:cubicBezTo>
                    <a:pt x="1102799" y="359475"/>
                    <a:pt x="1083609" y="378665"/>
                    <a:pt x="1083609" y="402338"/>
                  </a:cubicBezTo>
                  <a:cubicBezTo>
                    <a:pt x="1083609" y="426011"/>
                    <a:pt x="1102799" y="445201"/>
                    <a:pt x="1126472" y="445201"/>
                  </a:cubicBezTo>
                  <a:cubicBezTo>
                    <a:pt x="1150145" y="445201"/>
                    <a:pt x="1169335" y="426011"/>
                    <a:pt x="1169335" y="402338"/>
                  </a:cubicBezTo>
                  <a:cubicBezTo>
                    <a:pt x="1169335" y="378665"/>
                    <a:pt x="1150145" y="359475"/>
                    <a:pt x="1126472" y="359475"/>
                  </a:cubicBezTo>
                  <a:close/>
                  <a:moveTo>
                    <a:pt x="908984" y="359475"/>
                  </a:moveTo>
                  <a:cubicBezTo>
                    <a:pt x="883558" y="359475"/>
                    <a:pt x="862946" y="378665"/>
                    <a:pt x="862946" y="402338"/>
                  </a:cubicBezTo>
                  <a:cubicBezTo>
                    <a:pt x="862946" y="426011"/>
                    <a:pt x="883558" y="445201"/>
                    <a:pt x="908984" y="445201"/>
                  </a:cubicBezTo>
                  <a:cubicBezTo>
                    <a:pt x="934410" y="445201"/>
                    <a:pt x="955022" y="426011"/>
                    <a:pt x="955022" y="402338"/>
                  </a:cubicBezTo>
                  <a:cubicBezTo>
                    <a:pt x="955022" y="378665"/>
                    <a:pt x="934410" y="359475"/>
                    <a:pt x="908984" y="359475"/>
                  </a:cubicBezTo>
                  <a:close/>
                  <a:moveTo>
                    <a:pt x="689909" y="359475"/>
                  </a:moveTo>
                  <a:cubicBezTo>
                    <a:pt x="666236" y="359475"/>
                    <a:pt x="647046" y="378665"/>
                    <a:pt x="647046" y="402338"/>
                  </a:cubicBezTo>
                  <a:cubicBezTo>
                    <a:pt x="647046" y="426011"/>
                    <a:pt x="666236" y="445201"/>
                    <a:pt x="689909" y="445201"/>
                  </a:cubicBezTo>
                  <a:cubicBezTo>
                    <a:pt x="713582" y="445201"/>
                    <a:pt x="732772" y="426011"/>
                    <a:pt x="732772" y="402338"/>
                  </a:cubicBezTo>
                  <a:cubicBezTo>
                    <a:pt x="732772" y="378665"/>
                    <a:pt x="713582" y="359475"/>
                    <a:pt x="689909" y="359475"/>
                  </a:cubicBezTo>
                  <a:close/>
                  <a:moveTo>
                    <a:pt x="472422" y="359475"/>
                  </a:moveTo>
                  <a:cubicBezTo>
                    <a:pt x="446996" y="359475"/>
                    <a:pt x="426384" y="378665"/>
                    <a:pt x="426384" y="402338"/>
                  </a:cubicBezTo>
                  <a:cubicBezTo>
                    <a:pt x="426384" y="426011"/>
                    <a:pt x="446996" y="445201"/>
                    <a:pt x="472422" y="445201"/>
                  </a:cubicBezTo>
                  <a:cubicBezTo>
                    <a:pt x="497848" y="445201"/>
                    <a:pt x="518460" y="426011"/>
                    <a:pt x="518460" y="402338"/>
                  </a:cubicBezTo>
                  <a:cubicBezTo>
                    <a:pt x="518460" y="378665"/>
                    <a:pt x="497848" y="359475"/>
                    <a:pt x="472422" y="359475"/>
                  </a:cubicBezTo>
                  <a:close/>
                  <a:moveTo>
                    <a:pt x="258109" y="359475"/>
                  </a:moveTo>
                  <a:cubicBezTo>
                    <a:pt x="232683" y="359475"/>
                    <a:pt x="212071" y="378665"/>
                    <a:pt x="212071" y="402338"/>
                  </a:cubicBezTo>
                  <a:cubicBezTo>
                    <a:pt x="212071" y="426011"/>
                    <a:pt x="232683" y="445201"/>
                    <a:pt x="258109" y="445201"/>
                  </a:cubicBezTo>
                  <a:cubicBezTo>
                    <a:pt x="283535" y="445201"/>
                    <a:pt x="304147" y="426011"/>
                    <a:pt x="304147" y="402338"/>
                  </a:cubicBezTo>
                  <a:cubicBezTo>
                    <a:pt x="304147" y="378665"/>
                    <a:pt x="283535" y="359475"/>
                    <a:pt x="258109" y="359475"/>
                  </a:cubicBezTo>
                  <a:close/>
                  <a:moveTo>
                    <a:pt x="1126472" y="161038"/>
                  </a:moveTo>
                  <a:cubicBezTo>
                    <a:pt x="1102799" y="161038"/>
                    <a:pt x="1083609" y="181650"/>
                    <a:pt x="1083609" y="207076"/>
                  </a:cubicBezTo>
                  <a:cubicBezTo>
                    <a:pt x="1083609" y="232502"/>
                    <a:pt x="1102799" y="253114"/>
                    <a:pt x="1126472" y="253114"/>
                  </a:cubicBezTo>
                  <a:cubicBezTo>
                    <a:pt x="1150145" y="253114"/>
                    <a:pt x="1169335" y="232502"/>
                    <a:pt x="1169335" y="207076"/>
                  </a:cubicBezTo>
                  <a:cubicBezTo>
                    <a:pt x="1169335" y="181650"/>
                    <a:pt x="1150145" y="161038"/>
                    <a:pt x="1126472" y="161038"/>
                  </a:cubicBezTo>
                  <a:close/>
                  <a:moveTo>
                    <a:pt x="908984" y="161038"/>
                  </a:moveTo>
                  <a:cubicBezTo>
                    <a:pt x="883558" y="161038"/>
                    <a:pt x="862946" y="181650"/>
                    <a:pt x="862946" y="207076"/>
                  </a:cubicBezTo>
                  <a:cubicBezTo>
                    <a:pt x="862946" y="232502"/>
                    <a:pt x="883558" y="253114"/>
                    <a:pt x="908984" y="253114"/>
                  </a:cubicBezTo>
                  <a:cubicBezTo>
                    <a:pt x="934410" y="253114"/>
                    <a:pt x="955022" y="232502"/>
                    <a:pt x="955022" y="207076"/>
                  </a:cubicBezTo>
                  <a:cubicBezTo>
                    <a:pt x="955022" y="181650"/>
                    <a:pt x="934410" y="161038"/>
                    <a:pt x="908984" y="161038"/>
                  </a:cubicBezTo>
                  <a:close/>
                  <a:moveTo>
                    <a:pt x="689909" y="161038"/>
                  </a:moveTo>
                  <a:cubicBezTo>
                    <a:pt x="666236" y="161038"/>
                    <a:pt x="647046" y="181650"/>
                    <a:pt x="647046" y="207076"/>
                  </a:cubicBezTo>
                  <a:cubicBezTo>
                    <a:pt x="647046" y="232502"/>
                    <a:pt x="666236" y="253114"/>
                    <a:pt x="689909" y="253114"/>
                  </a:cubicBezTo>
                  <a:cubicBezTo>
                    <a:pt x="713582" y="253114"/>
                    <a:pt x="732772" y="232502"/>
                    <a:pt x="732772" y="207076"/>
                  </a:cubicBezTo>
                  <a:cubicBezTo>
                    <a:pt x="732772" y="181650"/>
                    <a:pt x="713582" y="161038"/>
                    <a:pt x="689909" y="161038"/>
                  </a:cubicBezTo>
                  <a:close/>
                  <a:moveTo>
                    <a:pt x="472422" y="161038"/>
                  </a:moveTo>
                  <a:cubicBezTo>
                    <a:pt x="446996" y="161038"/>
                    <a:pt x="426384" y="181650"/>
                    <a:pt x="426384" y="207076"/>
                  </a:cubicBezTo>
                  <a:cubicBezTo>
                    <a:pt x="426384" y="232502"/>
                    <a:pt x="446996" y="253114"/>
                    <a:pt x="472422" y="253114"/>
                  </a:cubicBezTo>
                  <a:cubicBezTo>
                    <a:pt x="497848" y="253114"/>
                    <a:pt x="518460" y="232502"/>
                    <a:pt x="518460" y="207076"/>
                  </a:cubicBezTo>
                  <a:cubicBezTo>
                    <a:pt x="518460" y="181650"/>
                    <a:pt x="497848" y="161038"/>
                    <a:pt x="472422" y="161038"/>
                  </a:cubicBezTo>
                  <a:close/>
                  <a:moveTo>
                    <a:pt x="258109" y="161038"/>
                  </a:moveTo>
                  <a:cubicBezTo>
                    <a:pt x="232683" y="161038"/>
                    <a:pt x="212071" y="181650"/>
                    <a:pt x="212071" y="207076"/>
                  </a:cubicBezTo>
                  <a:cubicBezTo>
                    <a:pt x="212071" y="232502"/>
                    <a:pt x="232683" y="253114"/>
                    <a:pt x="258109" y="253114"/>
                  </a:cubicBezTo>
                  <a:cubicBezTo>
                    <a:pt x="283535" y="253114"/>
                    <a:pt x="304147" y="232502"/>
                    <a:pt x="304147" y="207076"/>
                  </a:cubicBezTo>
                  <a:cubicBezTo>
                    <a:pt x="304147" y="181650"/>
                    <a:pt x="283535" y="161038"/>
                    <a:pt x="258109" y="161038"/>
                  </a:cubicBezTo>
                  <a:close/>
                  <a:moveTo>
                    <a:pt x="88147" y="525"/>
                  </a:moveTo>
                  <a:cubicBezTo>
                    <a:pt x="112729" y="6700"/>
                    <a:pt x="131165" y="19049"/>
                    <a:pt x="143456" y="37573"/>
                  </a:cubicBezTo>
                  <a:cubicBezTo>
                    <a:pt x="161892" y="6700"/>
                    <a:pt x="198764" y="-5650"/>
                    <a:pt x="235637" y="6700"/>
                  </a:cubicBezTo>
                  <a:cubicBezTo>
                    <a:pt x="247928" y="12874"/>
                    <a:pt x="260218" y="25224"/>
                    <a:pt x="266364" y="37573"/>
                  </a:cubicBezTo>
                  <a:cubicBezTo>
                    <a:pt x="278655" y="6700"/>
                    <a:pt x="315527" y="-5650"/>
                    <a:pt x="352399" y="6700"/>
                  </a:cubicBezTo>
                  <a:cubicBezTo>
                    <a:pt x="364690" y="12874"/>
                    <a:pt x="376981" y="25224"/>
                    <a:pt x="383126" y="37573"/>
                  </a:cubicBezTo>
                  <a:cubicBezTo>
                    <a:pt x="401562" y="6700"/>
                    <a:pt x="438435" y="-5650"/>
                    <a:pt x="469162" y="6700"/>
                  </a:cubicBezTo>
                  <a:cubicBezTo>
                    <a:pt x="481452" y="12874"/>
                    <a:pt x="493743" y="25224"/>
                    <a:pt x="499889" y="37573"/>
                  </a:cubicBezTo>
                  <a:cubicBezTo>
                    <a:pt x="518325" y="6700"/>
                    <a:pt x="555197" y="-5650"/>
                    <a:pt x="585924" y="6700"/>
                  </a:cubicBezTo>
                  <a:cubicBezTo>
                    <a:pt x="604360" y="12874"/>
                    <a:pt x="610506" y="25224"/>
                    <a:pt x="622796" y="37573"/>
                  </a:cubicBezTo>
                  <a:cubicBezTo>
                    <a:pt x="635087" y="6700"/>
                    <a:pt x="671960" y="-5650"/>
                    <a:pt x="708832" y="6700"/>
                  </a:cubicBezTo>
                  <a:cubicBezTo>
                    <a:pt x="721123" y="12874"/>
                    <a:pt x="733413" y="25224"/>
                    <a:pt x="739559" y="37573"/>
                  </a:cubicBezTo>
                  <a:cubicBezTo>
                    <a:pt x="757995" y="6700"/>
                    <a:pt x="794867" y="-5650"/>
                    <a:pt x="825594" y="6700"/>
                  </a:cubicBezTo>
                  <a:cubicBezTo>
                    <a:pt x="837885" y="12874"/>
                    <a:pt x="850176" y="25224"/>
                    <a:pt x="856321" y="37573"/>
                  </a:cubicBezTo>
                  <a:cubicBezTo>
                    <a:pt x="874757" y="6700"/>
                    <a:pt x="911630" y="-5650"/>
                    <a:pt x="948502" y="6700"/>
                  </a:cubicBezTo>
                  <a:cubicBezTo>
                    <a:pt x="960793" y="12874"/>
                    <a:pt x="966938" y="25224"/>
                    <a:pt x="979229" y="37573"/>
                  </a:cubicBezTo>
                  <a:cubicBezTo>
                    <a:pt x="991520" y="6700"/>
                    <a:pt x="1028392" y="-5650"/>
                    <a:pt x="1065265" y="6700"/>
                  </a:cubicBezTo>
                  <a:cubicBezTo>
                    <a:pt x="1077555" y="12874"/>
                    <a:pt x="1089846" y="25224"/>
                    <a:pt x="1095992" y="37573"/>
                  </a:cubicBezTo>
                  <a:cubicBezTo>
                    <a:pt x="1114428" y="6700"/>
                    <a:pt x="1151300" y="-5650"/>
                    <a:pt x="1182027" y="6700"/>
                  </a:cubicBezTo>
                  <a:cubicBezTo>
                    <a:pt x="1194318" y="12874"/>
                    <a:pt x="1206609" y="25224"/>
                    <a:pt x="1212754" y="37573"/>
                  </a:cubicBezTo>
                  <a:cubicBezTo>
                    <a:pt x="1231190" y="19049"/>
                    <a:pt x="1249626" y="6700"/>
                    <a:pt x="1274208" y="525"/>
                  </a:cubicBezTo>
                  <a:cubicBezTo>
                    <a:pt x="1329516" y="-5650"/>
                    <a:pt x="1372534" y="43748"/>
                    <a:pt x="1360243" y="93145"/>
                  </a:cubicBezTo>
                  <a:cubicBezTo>
                    <a:pt x="1354098" y="117844"/>
                    <a:pt x="1335662" y="130193"/>
                    <a:pt x="1317226" y="142543"/>
                  </a:cubicBezTo>
                  <a:cubicBezTo>
                    <a:pt x="1329516" y="148717"/>
                    <a:pt x="1335662" y="161067"/>
                    <a:pt x="1341807" y="173416"/>
                  </a:cubicBezTo>
                  <a:cubicBezTo>
                    <a:pt x="1360243" y="204290"/>
                    <a:pt x="1341807" y="241338"/>
                    <a:pt x="1317226" y="259862"/>
                  </a:cubicBezTo>
                  <a:cubicBezTo>
                    <a:pt x="1329516" y="266037"/>
                    <a:pt x="1335662" y="278386"/>
                    <a:pt x="1341807" y="290735"/>
                  </a:cubicBezTo>
                  <a:cubicBezTo>
                    <a:pt x="1360243" y="327784"/>
                    <a:pt x="1341807" y="358657"/>
                    <a:pt x="1317226" y="377181"/>
                  </a:cubicBezTo>
                  <a:cubicBezTo>
                    <a:pt x="1317226" y="377193"/>
                    <a:pt x="1317226" y="377275"/>
                    <a:pt x="1317226" y="377953"/>
                  </a:cubicBezTo>
                  <a:lnTo>
                    <a:pt x="1317226" y="383356"/>
                  </a:lnTo>
                  <a:cubicBezTo>
                    <a:pt x="1329516" y="389531"/>
                    <a:pt x="1335662" y="395705"/>
                    <a:pt x="1341807" y="408055"/>
                  </a:cubicBezTo>
                  <a:cubicBezTo>
                    <a:pt x="1360243" y="445103"/>
                    <a:pt x="1341807" y="482151"/>
                    <a:pt x="1317226" y="494500"/>
                  </a:cubicBezTo>
                  <a:cubicBezTo>
                    <a:pt x="1317226" y="494512"/>
                    <a:pt x="1317226" y="494591"/>
                    <a:pt x="1317226" y="495272"/>
                  </a:cubicBezTo>
                  <a:lnTo>
                    <a:pt x="1317226" y="500675"/>
                  </a:lnTo>
                  <a:cubicBezTo>
                    <a:pt x="1329516" y="506850"/>
                    <a:pt x="1335662" y="519199"/>
                    <a:pt x="1341807" y="531548"/>
                  </a:cubicBezTo>
                  <a:cubicBezTo>
                    <a:pt x="1360243" y="562422"/>
                    <a:pt x="1341807" y="599470"/>
                    <a:pt x="1317226" y="617994"/>
                  </a:cubicBezTo>
                  <a:cubicBezTo>
                    <a:pt x="1329516" y="624169"/>
                    <a:pt x="1335662" y="636518"/>
                    <a:pt x="1341807" y="648868"/>
                  </a:cubicBezTo>
                  <a:cubicBezTo>
                    <a:pt x="1360243" y="685916"/>
                    <a:pt x="1341807" y="716789"/>
                    <a:pt x="1317226" y="735313"/>
                  </a:cubicBezTo>
                  <a:cubicBezTo>
                    <a:pt x="1317226" y="735325"/>
                    <a:pt x="1317226" y="735405"/>
                    <a:pt x="1317226" y="736085"/>
                  </a:cubicBezTo>
                  <a:lnTo>
                    <a:pt x="1317226" y="741488"/>
                  </a:lnTo>
                  <a:cubicBezTo>
                    <a:pt x="1329516" y="747663"/>
                    <a:pt x="1335662" y="753837"/>
                    <a:pt x="1341807" y="766187"/>
                  </a:cubicBezTo>
                  <a:cubicBezTo>
                    <a:pt x="1360243" y="803235"/>
                    <a:pt x="1341807" y="840283"/>
                    <a:pt x="1317226" y="852633"/>
                  </a:cubicBezTo>
                  <a:cubicBezTo>
                    <a:pt x="1335662" y="864982"/>
                    <a:pt x="1354098" y="877331"/>
                    <a:pt x="1360243" y="902030"/>
                  </a:cubicBezTo>
                  <a:cubicBezTo>
                    <a:pt x="1372534" y="951428"/>
                    <a:pt x="1329516" y="1000825"/>
                    <a:pt x="1274208" y="994650"/>
                  </a:cubicBezTo>
                  <a:cubicBezTo>
                    <a:pt x="1249626" y="988476"/>
                    <a:pt x="1231190" y="969952"/>
                    <a:pt x="1212754" y="945253"/>
                  </a:cubicBezTo>
                  <a:cubicBezTo>
                    <a:pt x="1206609" y="957602"/>
                    <a:pt x="1194318" y="969952"/>
                    <a:pt x="1182027" y="976126"/>
                  </a:cubicBezTo>
                  <a:cubicBezTo>
                    <a:pt x="1151300" y="988476"/>
                    <a:pt x="1114428" y="976126"/>
                    <a:pt x="1095992" y="945253"/>
                  </a:cubicBezTo>
                  <a:cubicBezTo>
                    <a:pt x="1089846" y="957602"/>
                    <a:pt x="1077555" y="969952"/>
                    <a:pt x="1065265" y="976126"/>
                  </a:cubicBezTo>
                  <a:cubicBezTo>
                    <a:pt x="1028392" y="988476"/>
                    <a:pt x="991520" y="976126"/>
                    <a:pt x="979229" y="945253"/>
                  </a:cubicBezTo>
                  <a:cubicBezTo>
                    <a:pt x="966938" y="957602"/>
                    <a:pt x="960793" y="969952"/>
                    <a:pt x="948502" y="976126"/>
                  </a:cubicBezTo>
                  <a:cubicBezTo>
                    <a:pt x="911630" y="988476"/>
                    <a:pt x="874757" y="976126"/>
                    <a:pt x="856321" y="945253"/>
                  </a:cubicBezTo>
                  <a:cubicBezTo>
                    <a:pt x="850176" y="957602"/>
                    <a:pt x="837885" y="969952"/>
                    <a:pt x="825594" y="976126"/>
                  </a:cubicBezTo>
                  <a:cubicBezTo>
                    <a:pt x="794867" y="988476"/>
                    <a:pt x="757995" y="976126"/>
                    <a:pt x="739559" y="945253"/>
                  </a:cubicBezTo>
                  <a:cubicBezTo>
                    <a:pt x="733413" y="957602"/>
                    <a:pt x="721123" y="969952"/>
                    <a:pt x="708832" y="976126"/>
                  </a:cubicBezTo>
                  <a:cubicBezTo>
                    <a:pt x="671960" y="988476"/>
                    <a:pt x="635087" y="976126"/>
                    <a:pt x="622796" y="945253"/>
                  </a:cubicBezTo>
                  <a:cubicBezTo>
                    <a:pt x="610506" y="957602"/>
                    <a:pt x="604360" y="969952"/>
                    <a:pt x="585924" y="976126"/>
                  </a:cubicBezTo>
                  <a:cubicBezTo>
                    <a:pt x="555197" y="988476"/>
                    <a:pt x="518325" y="976126"/>
                    <a:pt x="499889" y="945253"/>
                  </a:cubicBezTo>
                  <a:cubicBezTo>
                    <a:pt x="493743" y="957602"/>
                    <a:pt x="481452" y="969952"/>
                    <a:pt x="469162" y="976126"/>
                  </a:cubicBezTo>
                  <a:cubicBezTo>
                    <a:pt x="438435" y="988476"/>
                    <a:pt x="401562" y="976126"/>
                    <a:pt x="383126" y="945253"/>
                  </a:cubicBezTo>
                  <a:cubicBezTo>
                    <a:pt x="376981" y="957602"/>
                    <a:pt x="364690" y="969952"/>
                    <a:pt x="352399" y="976126"/>
                  </a:cubicBezTo>
                  <a:cubicBezTo>
                    <a:pt x="315527" y="988476"/>
                    <a:pt x="278655" y="976126"/>
                    <a:pt x="266364" y="945253"/>
                  </a:cubicBezTo>
                  <a:cubicBezTo>
                    <a:pt x="260218" y="957602"/>
                    <a:pt x="247928" y="969952"/>
                    <a:pt x="235637" y="976126"/>
                  </a:cubicBezTo>
                  <a:cubicBezTo>
                    <a:pt x="198764" y="988476"/>
                    <a:pt x="161892" y="976126"/>
                    <a:pt x="149601" y="951428"/>
                  </a:cubicBezTo>
                  <a:cubicBezTo>
                    <a:pt x="131165" y="969952"/>
                    <a:pt x="112729" y="988476"/>
                    <a:pt x="88147" y="994650"/>
                  </a:cubicBezTo>
                  <a:cubicBezTo>
                    <a:pt x="32839" y="1000825"/>
                    <a:pt x="-10179" y="951428"/>
                    <a:pt x="2112" y="902030"/>
                  </a:cubicBezTo>
                  <a:cubicBezTo>
                    <a:pt x="8257" y="877331"/>
                    <a:pt x="26693" y="864982"/>
                    <a:pt x="45130" y="852633"/>
                  </a:cubicBezTo>
                  <a:cubicBezTo>
                    <a:pt x="20548" y="834108"/>
                    <a:pt x="8257" y="803235"/>
                    <a:pt x="20548" y="766187"/>
                  </a:cubicBezTo>
                  <a:cubicBezTo>
                    <a:pt x="26693" y="753837"/>
                    <a:pt x="32839" y="747663"/>
                    <a:pt x="45130" y="741488"/>
                  </a:cubicBezTo>
                  <a:cubicBezTo>
                    <a:pt x="45130" y="741483"/>
                    <a:pt x="45130" y="741419"/>
                    <a:pt x="45130" y="740716"/>
                  </a:cubicBezTo>
                  <a:lnTo>
                    <a:pt x="45130" y="735313"/>
                  </a:lnTo>
                  <a:cubicBezTo>
                    <a:pt x="20548" y="716789"/>
                    <a:pt x="8257" y="679741"/>
                    <a:pt x="20548" y="648868"/>
                  </a:cubicBezTo>
                  <a:cubicBezTo>
                    <a:pt x="26693" y="636518"/>
                    <a:pt x="32839" y="624169"/>
                    <a:pt x="45130" y="617994"/>
                  </a:cubicBezTo>
                  <a:cubicBezTo>
                    <a:pt x="20548" y="599470"/>
                    <a:pt x="8257" y="562422"/>
                    <a:pt x="20548" y="531548"/>
                  </a:cubicBezTo>
                  <a:cubicBezTo>
                    <a:pt x="26693" y="519199"/>
                    <a:pt x="32839" y="506850"/>
                    <a:pt x="45130" y="500675"/>
                  </a:cubicBezTo>
                  <a:cubicBezTo>
                    <a:pt x="45130" y="500665"/>
                    <a:pt x="45130" y="500590"/>
                    <a:pt x="45130" y="499903"/>
                  </a:cubicBezTo>
                  <a:lnTo>
                    <a:pt x="45130" y="494500"/>
                  </a:lnTo>
                  <a:cubicBezTo>
                    <a:pt x="20548" y="475976"/>
                    <a:pt x="8257" y="445103"/>
                    <a:pt x="20548" y="408055"/>
                  </a:cubicBezTo>
                  <a:cubicBezTo>
                    <a:pt x="26693" y="395705"/>
                    <a:pt x="32839" y="389531"/>
                    <a:pt x="45130" y="383356"/>
                  </a:cubicBezTo>
                  <a:cubicBezTo>
                    <a:pt x="45130" y="383349"/>
                    <a:pt x="45130" y="383279"/>
                    <a:pt x="45130" y="382584"/>
                  </a:cubicBezTo>
                  <a:lnTo>
                    <a:pt x="45130" y="377181"/>
                  </a:lnTo>
                  <a:cubicBezTo>
                    <a:pt x="20548" y="358657"/>
                    <a:pt x="8257" y="321609"/>
                    <a:pt x="20548" y="290735"/>
                  </a:cubicBezTo>
                  <a:cubicBezTo>
                    <a:pt x="26693" y="278386"/>
                    <a:pt x="32839" y="266037"/>
                    <a:pt x="45130" y="259862"/>
                  </a:cubicBezTo>
                  <a:cubicBezTo>
                    <a:pt x="20548" y="241338"/>
                    <a:pt x="8257" y="204290"/>
                    <a:pt x="20548" y="173416"/>
                  </a:cubicBezTo>
                  <a:cubicBezTo>
                    <a:pt x="26693" y="161067"/>
                    <a:pt x="32839" y="148717"/>
                    <a:pt x="45130" y="142543"/>
                  </a:cubicBezTo>
                  <a:cubicBezTo>
                    <a:pt x="26693" y="130193"/>
                    <a:pt x="8257" y="117844"/>
                    <a:pt x="2112" y="93145"/>
                  </a:cubicBezTo>
                  <a:cubicBezTo>
                    <a:pt x="-10179" y="43748"/>
                    <a:pt x="32839" y="-5650"/>
                    <a:pt x="88147" y="525"/>
                  </a:cubicBezTo>
                  <a:close/>
                </a:path>
              </a:pathLst>
            </a:custGeom>
            <a:solidFill>
              <a:srgbClr val="0036A3"/>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grpSp>
          <p:nvGrpSpPr>
            <p:cNvPr id="56" name="Group 55"/>
            <p:cNvGrpSpPr/>
            <p:nvPr/>
          </p:nvGrpSpPr>
          <p:grpSpPr bwMode="ltGray">
            <a:xfrm rot="900450">
              <a:off x="5231048" y="4850016"/>
              <a:ext cx="909192" cy="707151"/>
              <a:chOff x="2074163" y="5486400"/>
              <a:chExt cx="1000966" cy="778532"/>
            </a:xfrm>
            <a:solidFill>
              <a:srgbClr val="CE1126"/>
            </a:solidFill>
          </p:grpSpPr>
          <p:sp>
            <p:nvSpPr>
              <p:cNvPr id="91" name="Freeform 61"/>
              <p:cNvSpPr>
                <a:spLocks noEditPoints="1"/>
              </p:cNvSpPr>
              <p:nvPr/>
            </p:nvSpPr>
            <p:spPr bwMode="ltGray">
              <a:xfrm>
                <a:off x="2074163" y="5567994"/>
                <a:ext cx="632146" cy="603760"/>
              </a:xfrm>
              <a:custGeom>
                <a:avLst/>
                <a:gdLst>
                  <a:gd name="T0" fmla="*/ 78 w 149"/>
                  <a:gd name="T1" fmla="*/ 0 h 142"/>
                  <a:gd name="T2" fmla="*/ 28 w 149"/>
                  <a:gd name="T3" fmla="*/ 121 h 142"/>
                  <a:gd name="T4" fmla="*/ 78 w 149"/>
                  <a:gd name="T5" fmla="*/ 142 h 142"/>
                  <a:gd name="T6" fmla="*/ 149 w 149"/>
                  <a:gd name="T7" fmla="*/ 71 h 142"/>
                  <a:gd name="T8" fmla="*/ 118 w 149"/>
                  <a:gd name="T9" fmla="*/ 29 h 142"/>
                  <a:gd name="T10" fmla="*/ 104 w 149"/>
                  <a:gd name="T11" fmla="*/ 25 h 142"/>
                  <a:gd name="T12" fmla="*/ 100 w 149"/>
                  <a:gd name="T13" fmla="*/ 44 h 142"/>
                  <a:gd name="T14" fmla="*/ 104 w 149"/>
                  <a:gd name="T15" fmla="*/ 48 h 142"/>
                  <a:gd name="T16" fmla="*/ 100 w 149"/>
                  <a:gd name="T17" fmla="*/ 44 h 142"/>
                  <a:gd name="T18" fmla="*/ 66 w 149"/>
                  <a:gd name="T19" fmla="*/ 26 h 142"/>
                  <a:gd name="T20" fmla="*/ 76 w 149"/>
                  <a:gd name="T21" fmla="*/ 17 h 142"/>
                  <a:gd name="T22" fmla="*/ 77 w 149"/>
                  <a:gd name="T23" fmla="*/ 17 h 142"/>
                  <a:gd name="T24" fmla="*/ 87 w 149"/>
                  <a:gd name="T25" fmla="*/ 26 h 142"/>
                  <a:gd name="T26" fmla="*/ 88 w 149"/>
                  <a:gd name="T27" fmla="*/ 28 h 142"/>
                  <a:gd name="T28" fmla="*/ 79 w 149"/>
                  <a:gd name="T29" fmla="*/ 37 h 142"/>
                  <a:gd name="T30" fmla="*/ 76 w 149"/>
                  <a:gd name="T31" fmla="*/ 39 h 142"/>
                  <a:gd name="T32" fmla="*/ 74 w 149"/>
                  <a:gd name="T33" fmla="*/ 37 h 142"/>
                  <a:gd name="T34" fmla="*/ 65 w 149"/>
                  <a:gd name="T35" fmla="*/ 28 h 142"/>
                  <a:gd name="T36" fmla="*/ 53 w 149"/>
                  <a:gd name="T37" fmla="*/ 44 h 142"/>
                  <a:gd name="T38" fmla="*/ 48 w 149"/>
                  <a:gd name="T39" fmla="*/ 48 h 142"/>
                  <a:gd name="T40" fmla="*/ 53 w 149"/>
                  <a:gd name="T41" fmla="*/ 44 h 142"/>
                  <a:gd name="T42" fmla="*/ 48 w 149"/>
                  <a:gd name="T43" fmla="*/ 27 h 142"/>
                  <a:gd name="T44" fmla="*/ 33 w 149"/>
                  <a:gd name="T45" fmla="*/ 30 h 142"/>
                  <a:gd name="T46" fmla="*/ 28 w 149"/>
                  <a:gd name="T47" fmla="*/ 82 h 142"/>
                  <a:gd name="T48" fmla="*/ 26 w 149"/>
                  <a:gd name="T49" fmla="*/ 79 h 142"/>
                  <a:gd name="T50" fmla="*/ 17 w 149"/>
                  <a:gd name="T51" fmla="*/ 70 h 142"/>
                  <a:gd name="T52" fmla="*/ 18 w 149"/>
                  <a:gd name="T53" fmla="*/ 69 h 142"/>
                  <a:gd name="T54" fmla="*/ 28 w 149"/>
                  <a:gd name="T55" fmla="*/ 59 h 142"/>
                  <a:gd name="T56" fmla="*/ 29 w 149"/>
                  <a:gd name="T57" fmla="*/ 59 h 142"/>
                  <a:gd name="T58" fmla="*/ 39 w 149"/>
                  <a:gd name="T59" fmla="*/ 69 h 142"/>
                  <a:gd name="T60" fmla="*/ 40 w 149"/>
                  <a:gd name="T61" fmla="*/ 70 h 142"/>
                  <a:gd name="T62" fmla="*/ 31 w 149"/>
                  <a:gd name="T63" fmla="*/ 79 h 142"/>
                  <a:gd name="T64" fmla="*/ 36 w 149"/>
                  <a:gd name="T65" fmla="*/ 116 h 142"/>
                  <a:gd name="T66" fmla="*/ 51 w 149"/>
                  <a:gd name="T67" fmla="*/ 118 h 142"/>
                  <a:gd name="T68" fmla="*/ 54 w 149"/>
                  <a:gd name="T69" fmla="*/ 100 h 142"/>
                  <a:gd name="T70" fmla="*/ 50 w 149"/>
                  <a:gd name="T71" fmla="*/ 96 h 142"/>
                  <a:gd name="T72" fmla="*/ 54 w 149"/>
                  <a:gd name="T73" fmla="*/ 100 h 142"/>
                  <a:gd name="T74" fmla="*/ 87 w 149"/>
                  <a:gd name="T75" fmla="*/ 116 h 142"/>
                  <a:gd name="T76" fmla="*/ 77 w 149"/>
                  <a:gd name="T77" fmla="*/ 126 h 142"/>
                  <a:gd name="T78" fmla="*/ 76 w 149"/>
                  <a:gd name="T79" fmla="*/ 126 h 142"/>
                  <a:gd name="T80" fmla="*/ 66 w 149"/>
                  <a:gd name="T81" fmla="*/ 116 h 142"/>
                  <a:gd name="T82" fmla="*/ 65 w 149"/>
                  <a:gd name="T83" fmla="*/ 114 h 142"/>
                  <a:gd name="T84" fmla="*/ 74 w 149"/>
                  <a:gd name="T85" fmla="*/ 105 h 142"/>
                  <a:gd name="T86" fmla="*/ 76 w 149"/>
                  <a:gd name="T87" fmla="*/ 103 h 142"/>
                  <a:gd name="T88" fmla="*/ 79 w 149"/>
                  <a:gd name="T89" fmla="*/ 105 h 142"/>
                  <a:gd name="T90" fmla="*/ 88 w 149"/>
                  <a:gd name="T91" fmla="*/ 114 h 142"/>
                  <a:gd name="T92" fmla="*/ 78 w 149"/>
                  <a:gd name="T93" fmla="*/ 87 h 142"/>
                  <a:gd name="T94" fmla="*/ 78 w 149"/>
                  <a:gd name="T95" fmla="*/ 53 h 142"/>
                  <a:gd name="T96" fmla="*/ 78 w 149"/>
                  <a:gd name="T97" fmla="*/ 87 h 142"/>
                  <a:gd name="T98" fmla="*/ 100 w 149"/>
                  <a:gd name="T99" fmla="*/ 97 h 142"/>
                  <a:gd name="T100" fmla="*/ 104 w 149"/>
                  <a:gd name="T101" fmla="*/ 93 h 142"/>
                  <a:gd name="T102" fmla="*/ 121 w 149"/>
                  <a:gd name="T103" fmla="*/ 112 h 142"/>
                  <a:gd name="T104" fmla="*/ 123 w 149"/>
                  <a:gd name="T105" fmla="*/ 97 h 142"/>
                  <a:gd name="T106" fmla="*/ 139 w 149"/>
                  <a:gd name="T107" fmla="*/ 71 h 142"/>
                  <a:gd name="T108" fmla="*/ 129 w 149"/>
                  <a:gd name="T109" fmla="*/ 81 h 142"/>
                  <a:gd name="T110" fmla="*/ 127 w 149"/>
                  <a:gd name="T111" fmla="*/ 81 h 142"/>
                  <a:gd name="T112" fmla="*/ 117 w 149"/>
                  <a:gd name="T113" fmla="*/ 71 h 142"/>
                  <a:gd name="T114" fmla="*/ 116 w 149"/>
                  <a:gd name="T115" fmla="*/ 69 h 142"/>
                  <a:gd name="T116" fmla="*/ 126 w 149"/>
                  <a:gd name="T117" fmla="*/ 60 h 142"/>
                  <a:gd name="T118" fmla="*/ 128 w 149"/>
                  <a:gd name="T119" fmla="*/ 58 h 142"/>
                  <a:gd name="T120" fmla="*/ 130 w 149"/>
                  <a:gd name="T121" fmla="*/ 60 h 142"/>
                  <a:gd name="T122" fmla="*/ 140 w 149"/>
                  <a:gd name="T123" fmla="*/ 69 h 142"/>
                  <a:gd name="T124" fmla="*/ 139 w 149"/>
                  <a:gd name="T125"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9" h="142">
                    <a:moveTo>
                      <a:pt x="129" y="21"/>
                    </a:moveTo>
                    <a:cubicBezTo>
                      <a:pt x="115" y="7"/>
                      <a:pt x="97" y="0"/>
                      <a:pt x="78" y="0"/>
                    </a:cubicBezTo>
                    <a:cubicBezTo>
                      <a:pt x="59" y="0"/>
                      <a:pt x="41" y="7"/>
                      <a:pt x="28" y="21"/>
                    </a:cubicBezTo>
                    <a:cubicBezTo>
                      <a:pt x="0" y="48"/>
                      <a:pt x="0" y="94"/>
                      <a:pt x="28" y="121"/>
                    </a:cubicBezTo>
                    <a:cubicBezTo>
                      <a:pt x="41" y="135"/>
                      <a:pt x="59" y="142"/>
                      <a:pt x="78" y="142"/>
                    </a:cubicBezTo>
                    <a:cubicBezTo>
                      <a:pt x="78" y="142"/>
                      <a:pt x="78" y="142"/>
                      <a:pt x="78" y="142"/>
                    </a:cubicBezTo>
                    <a:cubicBezTo>
                      <a:pt x="97" y="142"/>
                      <a:pt x="115" y="135"/>
                      <a:pt x="128" y="121"/>
                    </a:cubicBezTo>
                    <a:cubicBezTo>
                      <a:pt x="142" y="108"/>
                      <a:pt x="149" y="90"/>
                      <a:pt x="149" y="71"/>
                    </a:cubicBezTo>
                    <a:cubicBezTo>
                      <a:pt x="149" y="52"/>
                      <a:pt x="142" y="34"/>
                      <a:pt x="129" y="21"/>
                    </a:cubicBezTo>
                    <a:close/>
                    <a:moveTo>
                      <a:pt x="118" y="29"/>
                    </a:moveTo>
                    <a:cubicBezTo>
                      <a:pt x="120" y="43"/>
                      <a:pt x="120" y="43"/>
                      <a:pt x="120" y="43"/>
                    </a:cubicBezTo>
                    <a:cubicBezTo>
                      <a:pt x="104" y="25"/>
                      <a:pt x="104" y="25"/>
                      <a:pt x="104" y="25"/>
                    </a:cubicBezTo>
                    <a:lnTo>
                      <a:pt x="118" y="29"/>
                    </a:lnTo>
                    <a:close/>
                    <a:moveTo>
                      <a:pt x="100" y="44"/>
                    </a:moveTo>
                    <a:cubicBezTo>
                      <a:pt x="101" y="43"/>
                      <a:pt x="103" y="43"/>
                      <a:pt x="104" y="44"/>
                    </a:cubicBezTo>
                    <a:cubicBezTo>
                      <a:pt x="105" y="45"/>
                      <a:pt x="105" y="47"/>
                      <a:pt x="104" y="48"/>
                    </a:cubicBezTo>
                    <a:cubicBezTo>
                      <a:pt x="103" y="49"/>
                      <a:pt x="101" y="49"/>
                      <a:pt x="100" y="48"/>
                    </a:cubicBezTo>
                    <a:cubicBezTo>
                      <a:pt x="99" y="47"/>
                      <a:pt x="99" y="45"/>
                      <a:pt x="100" y="44"/>
                    </a:cubicBezTo>
                    <a:close/>
                    <a:moveTo>
                      <a:pt x="65" y="28"/>
                    </a:moveTo>
                    <a:cubicBezTo>
                      <a:pt x="65" y="27"/>
                      <a:pt x="65" y="26"/>
                      <a:pt x="66" y="26"/>
                    </a:cubicBezTo>
                    <a:cubicBezTo>
                      <a:pt x="66" y="26"/>
                      <a:pt x="72" y="25"/>
                      <a:pt x="74" y="19"/>
                    </a:cubicBezTo>
                    <a:cubicBezTo>
                      <a:pt x="74" y="19"/>
                      <a:pt x="75" y="17"/>
                      <a:pt x="76" y="17"/>
                    </a:cubicBezTo>
                    <a:cubicBezTo>
                      <a:pt x="76" y="17"/>
                      <a:pt x="76" y="16"/>
                      <a:pt x="76" y="16"/>
                    </a:cubicBezTo>
                    <a:cubicBezTo>
                      <a:pt x="77" y="16"/>
                      <a:pt x="77" y="17"/>
                      <a:pt x="77" y="17"/>
                    </a:cubicBezTo>
                    <a:cubicBezTo>
                      <a:pt x="78" y="17"/>
                      <a:pt x="79" y="19"/>
                      <a:pt x="79" y="19"/>
                    </a:cubicBezTo>
                    <a:cubicBezTo>
                      <a:pt x="80" y="25"/>
                      <a:pt x="87" y="26"/>
                      <a:pt x="87" y="26"/>
                    </a:cubicBezTo>
                    <a:cubicBezTo>
                      <a:pt x="88" y="26"/>
                      <a:pt x="88" y="27"/>
                      <a:pt x="88" y="28"/>
                    </a:cubicBezTo>
                    <a:cubicBezTo>
                      <a:pt x="88" y="28"/>
                      <a:pt x="88" y="28"/>
                      <a:pt x="88" y="28"/>
                    </a:cubicBezTo>
                    <a:cubicBezTo>
                      <a:pt x="88" y="29"/>
                      <a:pt x="88" y="29"/>
                      <a:pt x="87" y="30"/>
                    </a:cubicBezTo>
                    <a:cubicBezTo>
                      <a:pt x="87" y="30"/>
                      <a:pt x="80" y="31"/>
                      <a:pt x="79" y="37"/>
                    </a:cubicBezTo>
                    <a:cubicBezTo>
                      <a:pt x="79" y="37"/>
                      <a:pt x="78" y="39"/>
                      <a:pt x="77" y="39"/>
                    </a:cubicBezTo>
                    <a:cubicBezTo>
                      <a:pt x="77" y="39"/>
                      <a:pt x="77" y="39"/>
                      <a:pt x="76" y="39"/>
                    </a:cubicBezTo>
                    <a:cubicBezTo>
                      <a:pt x="76" y="39"/>
                      <a:pt x="76" y="39"/>
                      <a:pt x="76" y="39"/>
                    </a:cubicBezTo>
                    <a:cubicBezTo>
                      <a:pt x="75" y="39"/>
                      <a:pt x="74" y="37"/>
                      <a:pt x="74" y="37"/>
                    </a:cubicBezTo>
                    <a:cubicBezTo>
                      <a:pt x="72" y="31"/>
                      <a:pt x="66" y="30"/>
                      <a:pt x="66" y="30"/>
                    </a:cubicBezTo>
                    <a:cubicBezTo>
                      <a:pt x="65" y="29"/>
                      <a:pt x="65" y="29"/>
                      <a:pt x="65" y="28"/>
                    </a:cubicBezTo>
                    <a:cubicBezTo>
                      <a:pt x="65" y="28"/>
                      <a:pt x="65" y="28"/>
                      <a:pt x="65" y="28"/>
                    </a:cubicBezTo>
                    <a:close/>
                    <a:moveTo>
                      <a:pt x="53" y="44"/>
                    </a:moveTo>
                    <a:cubicBezTo>
                      <a:pt x="54" y="45"/>
                      <a:pt x="54" y="47"/>
                      <a:pt x="53" y="48"/>
                    </a:cubicBezTo>
                    <a:cubicBezTo>
                      <a:pt x="51" y="49"/>
                      <a:pt x="50" y="49"/>
                      <a:pt x="48" y="48"/>
                    </a:cubicBezTo>
                    <a:cubicBezTo>
                      <a:pt x="47" y="47"/>
                      <a:pt x="47" y="45"/>
                      <a:pt x="48" y="44"/>
                    </a:cubicBezTo>
                    <a:cubicBezTo>
                      <a:pt x="50" y="43"/>
                      <a:pt x="51" y="43"/>
                      <a:pt x="53" y="44"/>
                    </a:cubicBezTo>
                    <a:close/>
                    <a:moveTo>
                      <a:pt x="33" y="30"/>
                    </a:moveTo>
                    <a:cubicBezTo>
                      <a:pt x="48" y="27"/>
                      <a:pt x="48" y="27"/>
                      <a:pt x="48" y="27"/>
                    </a:cubicBezTo>
                    <a:cubicBezTo>
                      <a:pt x="30" y="44"/>
                      <a:pt x="30" y="44"/>
                      <a:pt x="30" y="44"/>
                    </a:cubicBezTo>
                    <a:lnTo>
                      <a:pt x="33" y="30"/>
                    </a:lnTo>
                    <a:close/>
                    <a:moveTo>
                      <a:pt x="29" y="81"/>
                    </a:moveTo>
                    <a:cubicBezTo>
                      <a:pt x="29" y="82"/>
                      <a:pt x="29" y="82"/>
                      <a:pt x="28" y="82"/>
                    </a:cubicBezTo>
                    <a:cubicBezTo>
                      <a:pt x="28" y="82"/>
                      <a:pt x="28" y="82"/>
                      <a:pt x="28" y="82"/>
                    </a:cubicBezTo>
                    <a:cubicBezTo>
                      <a:pt x="27" y="81"/>
                      <a:pt x="26" y="79"/>
                      <a:pt x="26" y="79"/>
                    </a:cubicBezTo>
                    <a:cubicBezTo>
                      <a:pt x="24" y="73"/>
                      <a:pt x="18" y="72"/>
                      <a:pt x="18" y="72"/>
                    </a:cubicBezTo>
                    <a:cubicBezTo>
                      <a:pt x="17" y="72"/>
                      <a:pt x="17" y="71"/>
                      <a:pt x="17" y="70"/>
                    </a:cubicBezTo>
                    <a:cubicBezTo>
                      <a:pt x="17" y="70"/>
                      <a:pt x="17" y="70"/>
                      <a:pt x="17" y="70"/>
                    </a:cubicBezTo>
                    <a:cubicBezTo>
                      <a:pt x="17" y="69"/>
                      <a:pt x="17" y="69"/>
                      <a:pt x="18" y="69"/>
                    </a:cubicBezTo>
                    <a:cubicBezTo>
                      <a:pt x="18" y="68"/>
                      <a:pt x="24" y="67"/>
                      <a:pt x="26" y="61"/>
                    </a:cubicBezTo>
                    <a:cubicBezTo>
                      <a:pt x="26" y="61"/>
                      <a:pt x="27" y="59"/>
                      <a:pt x="28" y="59"/>
                    </a:cubicBezTo>
                    <a:cubicBezTo>
                      <a:pt x="28" y="59"/>
                      <a:pt x="28" y="59"/>
                      <a:pt x="28" y="59"/>
                    </a:cubicBezTo>
                    <a:cubicBezTo>
                      <a:pt x="29" y="59"/>
                      <a:pt x="29" y="59"/>
                      <a:pt x="29" y="59"/>
                    </a:cubicBezTo>
                    <a:cubicBezTo>
                      <a:pt x="30" y="59"/>
                      <a:pt x="31" y="61"/>
                      <a:pt x="31" y="61"/>
                    </a:cubicBezTo>
                    <a:cubicBezTo>
                      <a:pt x="32" y="67"/>
                      <a:pt x="39" y="68"/>
                      <a:pt x="39" y="69"/>
                    </a:cubicBezTo>
                    <a:cubicBezTo>
                      <a:pt x="40" y="69"/>
                      <a:pt x="40" y="69"/>
                      <a:pt x="40" y="70"/>
                    </a:cubicBezTo>
                    <a:cubicBezTo>
                      <a:pt x="40" y="70"/>
                      <a:pt x="40" y="70"/>
                      <a:pt x="40" y="70"/>
                    </a:cubicBezTo>
                    <a:cubicBezTo>
                      <a:pt x="40" y="71"/>
                      <a:pt x="40" y="72"/>
                      <a:pt x="39" y="72"/>
                    </a:cubicBezTo>
                    <a:cubicBezTo>
                      <a:pt x="39" y="72"/>
                      <a:pt x="32" y="73"/>
                      <a:pt x="31" y="79"/>
                    </a:cubicBezTo>
                    <a:cubicBezTo>
                      <a:pt x="31" y="79"/>
                      <a:pt x="30" y="81"/>
                      <a:pt x="29" y="81"/>
                    </a:cubicBezTo>
                    <a:close/>
                    <a:moveTo>
                      <a:pt x="36" y="116"/>
                    </a:moveTo>
                    <a:cubicBezTo>
                      <a:pt x="32" y="101"/>
                      <a:pt x="32" y="101"/>
                      <a:pt x="32" y="101"/>
                    </a:cubicBezTo>
                    <a:cubicBezTo>
                      <a:pt x="51" y="118"/>
                      <a:pt x="51" y="118"/>
                      <a:pt x="51" y="118"/>
                    </a:cubicBezTo>
                    <a:lnTo>
                      <a:pt x="36" y="116"/>
                    </a:lnTo>
                    <a:close/>
                    <a:moveTo>
                      <a:pt x="54" y="100"/>
                    </a:moveTo>
                    <a:cubicBezTo>
                      <a:pt x="53" y="101"/>
                      <a:pt x="51" y="101"/>
                      <a:pt x="50" y="100"/>
                    </a:cubicBezTo>
                    <a:cubicBezTo>
                      <a:pt x="49" y="99"/>
                      <a:pt x="49" y="97"/>
                      <a:pt x="50" y="96"/>
                    </a:cubicBezTo>
                    <a:cubicBezTo>
                      <a:pt x="51" y="95"/>
                      <a:pt x="53" y="95"/>
                      <a:pt x="54" y="96"/>
                    </a:cubicBezTo>
                    <a:cubicBezTo>
                      <a:pt x="55" y="97"/>
                      <a:pt x="55" y="99"/>
                      <a:pt x="54" y="100"/>
                    </a:cubicBezTo>
                    <a:close/>
                    <a:moveTo>
                      <a:pt x="88" y="114"/>
                    </a:moveTo>
                    <a:cubicBezTo>
                      <a:pt x="88" y="115"/>
                      <a:pt x="88" y="116"/>
                      <a:pt x="87" y="116"/>
                    </a:cubicBezTo>
                    <a:cubicBezTo>
                      <a:pt x="87" y="116"/>
                      <a:pt x="80" y="117"/>
                      <a:pt x="79" y="123"/>
                    </a:cubicBezTo>
                    <a:cubicBezTo>
                      <a:pt x="79" y="123"/>
                      <a:pt x="78" y="125"/>
                      <a:pt x="77" y="126"/>
                    </a:cubicBezTo>
                    <a:cubicBezTo>
                      <a:pt x="77" y="126"/>
                      <a:pt x="77" y="126"/>
                      <a:pt x="76" y="126"/>
                    </a:cubicBezTo>
                    <a:cubicBezTo>
                      <a:pt x="76" y="126"/>
                      <a:pt x="76" y="126"/>
                      <a:pt x="76" y="126"/>
                    </a:cubicBezTo>
                    <a:cubicBezTo>
                      <a:pt x="75" y="125"/>
                      <a:pt x="74" y="123"/>
                      <a:pt x="74" y="123"/>
                    </a:cubicBezTo>
                    <a:cubicBezTo>
                      <a:pt x="72" y="117"/>
                      <a:pt x="66" y="116"/>
                      <a:pt x="66" y="116"/>
                    </a:cubicBezTo>
                    <a:cubicBezTo>
                      <a:pt x="65" y="116"/>
                      <a:pt x="65" y="115"/>
                      <a:pt x="65" y="114"/>
                    </a:cubicBezTo>
                    <a:cubicBezTo>
                      <a:pt x="65" y="114"/>
                      <a:pt x="65" y="114"/>
                      <a:pt x="65" y="114"/>
                    </a:cubicBezTo>
                    <a:cubicBezTo>
                      <a:pt x="65" y="113"/>
                      <a:pt x="65" y="113"/>
                      <a:pt x="66" y="113"/>
                    </a:cubicBezTo>
                    <a:cubicBezTo>
                      <a:pt x="66" y="112"/>
                      <a:pt x="72" y="111"/>
                      <a:pt x="74" y="105"/>
                    </a:cubicBezTo>
                    <a:cubicBezTo>
                      <a:pt x="74" y="105"/>
                      <a:pt x="75" y="103"/>
                      <a:pt x="76" y="103"/>
                    </a:cubicBezTo>
                    <a:cubicBezTo>
                      <a:pt x="76" y="103"/>
                      <a:pt x="76" y="103"/>
                      <a:pt x="76" y="103"/>
                    </a:cubicBezTo>
                    <a:cubicBezTo>
                      <a:pt x="77" y="103"/>
                      <a:pt x="77" y="103"/>
                      <a:pt x="77" y="103"/>
                    </a:cubicBezTo>
                    <a:cubicBezTo>
                      <a:pt x="78" y="103"/>
                      <a:pt x="79" y="105"/>
                      <a:pt x="79" y="105"/>
                    </a:cubicBezTo>
                    <a:cubicBezTo>
                      <a:pt x="80" y="111"/>
                      <a:pt x="87" y="112"/>
                      <a:pt x="87" y="113"/>
                    </a:cubicBezTo>
                    <a:cubicBezTo>
                      <a:pt x="88" y="113"/>
                      <a:pt x="88" y="113"/>
                      <a:pt x="88" y="114"/>
                    </a:cubicBezTo>
                    <a:cubicBezTo>
                      <a:pt x="88" y="114"/>
                      <a:pt x="88" y="114"/>
                      <a:pt x="88" y="114"/>
                    </a:cubicBezTo>
                    <a:close/>
                    <a:moveTo>
                      <a:pt x="78" y="87"/>
                    </a:moveTo>
                    <a:cubicBezTo>
                      <a:pt x="64" y="87"/>
                      <a:pt x="53" y="79"/>
                      <a:pt x="53" y="70"/>
                    </a:cubicBezTo>
                    <a:cubicBezTo>
                      <a:pt x="53" y="60"/>
                      <a:pt x="64" y="53"/>
                      <a:pt x="78" y="53"/>
                    </a:cubicBezTo>
                    <a:cubicBezTo>
                      <a:pt x="92" y="53"/>
                      <a:pt x="103" y="60"/>
                      <a:pt x="103" y="70"/>
                    </a:cubicBezTo>
                    <a:cubicBezTo>
                      <a:pt x="103" y="79"/>
                      <a:pt x="92" y="87"/>
                      <a:pt x="78" y="87"/>
                    </a:cubicBezTo>
                    <a:close/>
                    <a:moveTo>
                      <a:pt x="104" y="97"/>
                    </a:moveTo>
                    <a:cubicBezTo>
                      <a:pt x="103" y="99"/>
                      <a:pt x="101" y="99"/>
                      <a:pt x="100" y="97"/>
                    </a:cubicBezTo>
                    <a:cubicBezTo>
                      <a:pt x="99" y="96"/>
                      <a:pt x="99" y="95"/>
                      <a:pt x="100" y="93"/>
                    </a:cubicBezTo>
                    <a:cubicBezTo>
                      <a:pt x="101" y="92"/>
                      <a:pt x="103" y="92"/>
                      <a:pt x="104" y="93"/>
                    </a:cubicBezTo>
                    <a:cubicBezTo>
                      <a:pt x="106" y="95"/>
                      <a:pt x="106" y="96"/>
                      <a:pt x="104" y="97"/>
                    </a:cubicBezTo>
                    <a:close/>
                    <a:moveTo>
                      <a:pt x="121" y="112"/>
                    </a:moveTo>
                    <a:cubicBezTo>
                      <a:pt x="106" y="116"/>
                      <a:pt x="106" y="116"/>
                      <a:pt x="106" y="116"/>
                    </a:cubicBezTo>
                    <a:cubicBezTo>
                      <a:pt x="123" y="97"/>
                      <a:pt x="123" y="97"/>
                      <a:pt x="123" y="97"/>
                    </a:cubicBezTo>
                    <a:lnTo>
                      <a:pt x="121" y="112"/>
                    </a:lnTo>
                    <a:close/>
                    <a:moveTo>
                      <a:pt x="139" y="71"/>
                    </a:moveTo>
                    <a:cubicBezTo>
                      <a:pt x="138" y="71"/>
                      <a:pt x="132" y="72"/>
                      <a:pt x="130" y="79"/>
                    </a:cubicBezTo>
                    <a:cubicBezTo>
                      <a:pt x="130" y="79"/>
                      <a:pt x="130" y="80"/>
                      <a:pt x="129" y="81"/>
                    </a:cubicBezTo>
                    <a:cubicBezTo>
                      <a:pt x="129" y="81"/>
                      <a:pt x="128" y="81"/>
                      <a:pt x="128" y="81"/>
                    </a:cubicBezTo>
                    <a:cubicBezTo>
                      <a:pt x="128" y="81"/>
                      <a:pt x="127" y="81"/>
                      <a:pt x="127" y="81"/>
                    </a:cubicBezTo>
                    <a:cubicBezTo>
                      <a:pt x="126" y="80"/>
                      <a:pt x="126" y="79"/>
                      <a:pt x="126" y="79"/>
                    </a:cubicBezTo>
                    <a:cubicBezTo>
                      <a:pt x="124" y="72"/>
                      <a:pt x="117" y="71"/>
                      <a:pt x="117" y="71"/>
                    </a:cubicBezTo>
                    <a:cubicBezTo>
                      <a:pt x="117" y="71"/>
                      <a:pt x="116" y="71"/>
                      <a:pt x="116" y="70"/>
                    </a:cubicBezTo>
                    <a:cubicBezTo>
                      <a:pt x="116" y="69"/>
                      <a:pt x="116" y="69"/>
                      <a:pt x="116" y="69"/>
                    </a:cubicBezTo>
                    <a:cubicBezTo>
                      <a:pt x="116" y="68"/>
                      <a:pt x="117" y="68"/>
                      <a:pt x="117" y="68"/>
                    </a:cubicBezTo>
                    <a:cubicBezTo>
                      <a:pt x="117" y="68"/>
                      <a:pt x="124" y="66"/>
                      <a:pt x="126" y="60"/>
                    </a:cubicBezTo>
                    <a:cubicBezTo>
                      <a:pt x="126" y="60"/>
                      <a:pt x="126" y="59"/>
                      <a:pt x="127" y="58"/>
                    </a:cubicBezTo>
                    <a:cubicBezTo>
                      <a:pt x="127" y="58"/>
                      <a:pt x="128" y="58"/>
                      <a:pt x="128" y="58"/>
                    </a:cubicBezTo>
                    <a:cubicBezTo>
                      <a:pt x="128" y="58"/>
                      <a:pt x="129" y="58"/>
                      <a:pt x="129" y="58"/>
                    </a:cubicBezTo>
                    <a:cubicBezTo>
                      <a:pt x="130" y="59"/>
                      <a:pt x="130" y="60"/>
                      <a:pt x="130" y="60"/>
                    </a:cubicBezTo>
                    <a:cubicBezTo>
                      <a:pt x="132" y="66"/>
                      <a:pt x="138" y="68"/>
                      <a:pt x="139" y="68"/>
                    </a:cubicBezTo>
                    <a:cubicBezTo>
                      <a:pt x="139" y="68"/>
                      <a:pt x="139" y="68"/>
                      <a:pt x="140" y="69"/>
                    </a:cubicBezTo>
                    <a:cubicBezTo>
                      <a:pt x="140" y="69"/>
                      <a:pt x="140" y="69"/>
                      <a:pt x="140" y="70"/>
                    </a:cubicBezTo>
                    <a:cubicBezTo>
                      <a:pt x="139" y="71"/>
                      <a:pt x="139" y="71"/>
                      <a:pt x="139" y="71"/>
                    </a:cubicBezTo>
                    <a:close/>
                  </a:path>
                </a:pathLst>
              </a:cu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92" name="Oval 62"/>
              <p:cNvSpPr>
                <a:spLocks noChangeArrowheads="1"/>
              </p:cNvSpPr>
              <p:nvPr/>
            </p:nvSpPr>
            <p:spPr bwMode="ltGray">
              <a:xfrm>
                <a:off x="2315820" y="5805816"/>
                <a:ext cx="177983" cy="119678"/>
              </a:xfrm>
              <a:prstGeom prst="ellipse">
                <a:avLst/>
              </a:pr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93" name="Freeform 63"/>
              <p:cNvSpPr>
                <a:spLocks/>
              </p:cNvSpPr>
              <p:nvPr/>
            </p:nvSpPr>
            <p:spPr bwMode="ltGray">
              <a:xfrm>
                <a:off x="2133600" y="5486400"/>
                <a:ext cx="941529" cy="778532"/>
              </a:xfrm>
              <a:custGeom>
                <a:avLst/>
                <a:gdLst/>
                <a:ahLst/>
                <a:cxnLst/>
                <a:rect l="l" t="t" r="r" b="b"/>
                <a:pathLst>
                  <a:path w="1948308" h="1611020">
                    <a:moveTo>
                      <a:pt x="1153401" y="173208"/>
                    </a:moveTo>
                    <a:cubicBezTo>
                      <a:pt x="1125912" y="172968"/>
                      <a:pt x="1098388" y="174480"/>
                      <a:pt x="1071002" y="177780"/>
                    </a:cubicBezTo>
                    <a:cubicBezTo>
                      <a:pt x="1088529" y="195379"/>
                      <a:pt x="1106057" y="212978"/>
                      <a:pt x="1123584" y="230577"/>
                    </a:cubicBezTo>
                    <a:cubicBezTo>
                      <a:pt x="1430312" y="538563"/>
                      <a:pt x="1430312" y="1048939"/>
                      <a:pt x="1123584" y="1356925"/>
                    </a:cubicBezTo>
                    <a:cubicBezTo>
                      <a:pt x="1088529" y="1392123"/>
                      <a:pt x="1053475" y="1418522"/>
                      <a:pt x="1018420" y="1444921"/>
                    </a:cubicBezTo>
                    <a:cubicBezTo>
                      <a:pt x="1193693" y="1480119"/>
                      <a:pt x="1386493" y="1444921"/>
                      <a:pt x="1544239" y="1330526"/>
                    </a:cubicBezTo>
                    <a:cubicBezTo>
                      <a:pt x="1824676" y="1110537"/>
                      <a:pt x="1877258" y="705755"/>
                      <a:pt x="1666930" y="424168"/>
                    </a:cubicBezTo>
                    <a:cubicBezTo>
                      <a:pt x="1536571" y="262476"/>
                      <a:pt x="1345824" y="174893"/>
                      <a:pt x="1153401" y="173208"/>
                    </a:cubicBezTo>
                    <a:close/>
                    <a:moveTo>
                      <a:pt x="561739" y="124393"/>
                    </a:moveTo>
                    <a:cubicBezTo>
                      <a:pt x="386415" y="124393"/>
                      <a:pt x="219858" y="194828"/>
                      <a:pt x="88365" y="318089"/>
                    </a:cubicBezTo>
                    <a:cubicBezTo>
                      <a:pt x="-165855" y="582220"/>
                      <a:pt x="-165855" y="1004829"/>
                      <a:pt x="88365" y="1268960"/>
                    </a:cubicBezTo>
                    <a:cubicBezTo>
                      <a:pt x="219858" y="1392221"/>
                      <a:pt x="386415" y="1462656"/>
                      <a:pt x="561739" y="1462656"/>
                    </a:cubicBezTo>
                    <a:cubicBezTo>
                      <a:pt x="737063" y="1462656"/>
                      <a:pt x="903621" y="1392221"/>
                      <a:pt x="1035114" y="1268960"/>
                    </a:cubicBezTo>
                    <a:cubicBezTo>
                      <a:pt x="1157840" y="1136895"/>
                      <a:pt x="1227970" y="969612"/>
                      <a:pt x="1227970" y="793525"/>
                    </a:cubicBezTo>
                    <a:cubicBezTo>
                      <a:pt x="1227970" y="617437"/>
                      <a:pt x="1157840" y="450155"/>
                      <a:pt x="1035114" y="318089"/>
                    </a:cubicBezTo>
                    <a:cubicBezTo>
                      <a:pt x="912387" y="194828"/>
                      <a:pt x="737063" y="124393"/>
                      <a:pt x="561739" y="124393"/>
                    </a:cubicBezTo>
                    <a:close/>
                    <a:moveTo>
                      <a:pt x="541100" y="178"/>
                    </a:moveTo>
                    <a:cubicBezTo>
                      <a:pt x="659261" y="-2300"/>
                      <a:pt x="777730" y="21236"/>
                      <a:pt x="886327" y="70784"/>
                    </a:cubicBezTo>
                    <a:cubicBezTo>
                      <a:pt x="1202245" y="-43728"/>
                      <a:pt x="1570817" y="53167"/>
                      <a:pt x="1781429" y="335042"/>
                    </a:cubicBezTo>
                    <a:cubicBezTo>
                      <a:pt x="2053470" y="678577"/>
                      <a:pt x="1983266" y="1180667"/>
                      <a:pt x="1641021" y="1453733"/>
                    </a:cubicBezTo>
                    <a:cubicBezTo>
                      <a:pt x="1395306" y="1629905"/>
                      <a:pt x="1088164" y="1656331"/>
                      <a:pt x="833674" y="1541819"/>
                    </a:cubicBezTo>
                    <a:cubicBezTo>
                      <a:pt x="552857" y="1647523"/>
                      <a:pt x="228163" y="1585862"/>
                      <a:pt x="0" y="1356839"/>
                    </a:cubicBezTo>
                    <a:cubicBezTo>
                      <a:pt x="-307143" y="1048538"/>
                      <a:pt x="-307143" y="537640"/>
                      <a:pt x="0" y="229339"/>
                    </a:cubicBezTo>
                    <a:cubicBezTo>
                      <a:pt x="148087" y="80694"/>
                      <a:pt x="344165" y="4307"/>
                      <a:pt x="541100" y="178"/>
                    </a:cubicBezTo>
                    <a:close/>
                  </a:path>
                </a:pathLst>
              </a:cu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grpSp>
        <p:grpSp>
          <p:nvGrpSpPr>
            <p:cNvPr id="57" name="Group 56"/>
            <p:cNvGrpSpPr/>
            <p:nvPr/>
          </p:nvGrpSpPr>
          <p:grpSpPr bwMode="ltGray">
            <a:xfrm rot="1190879">
              <a:off x="5890566" y="5904196"/>
              <a:ext cx="807798" cy="511543"/>
              <a:chOff x="7461248" y="4493227"/>
              <a:chExt cx="791430" cy="501186"/>
            </a:xfrm>
            <a:solidFill>
              <a:srgbClr val="00B7C6"/>
            </a:solidFill>
          </p:grpSpPr>
          <p:sp>
            <p:nvSpPr>
              <p:cNvPr id="89" name="Freeform 164"/>
              <p:cNvSpPr>
                <a:spLocks/>
              </p:cNvSpPr>
              <p:nvPr/>
            </p:nvSpPr>
            <p:spPr bwMode="ltGray">
              <a:xfrm>
                <a:off x="7461248" y="4493227"/>
                <a:ext cx="791430" cy="283107"/>
              </a:xfrm>
              <a:custGeom>
                <a:avLst/>
                <a:gdLst>
                  <a:gd name="T0" fmla="*/ 133 w 267"/>
                  <a:gd name="T1" fmla="*/ 0 h 95"/>
                  <a:gd name="T2" fmla="*/ 0 w 267"/>
                  <a:gd name="T3" fmla="*/ 32 h 95"/>
                  <a:gd name="T4" fmla="*/ 0 w 267"/>
                  <a:gd name="T5" fmla="*/ 59 h 95"/>
                  <a:gd name="T6" fmla="*/ 0 w 267"/>
                  <a:gd name="T7" fmla="*/ 59 h 95"/>
                  <a:gd name="T8" fmla="*/ 0 w 267"/>
                  <a:gd name="T9" fmla="*/ 63 h 95"/>
                  <a:gd name="T10" fmla="*/ 23 w 267"/>
                  <a:gd name="T11" fmla="*/ 74 h 95"/>
                  <a:gd name="T12" fmla="*/ 23 w 267"/>
                  <a:gd name="T13" fmla="*/ 48 h 95"/>
                  <a:gd name="T14" fmla="*/ 56 w 267"/>
                  <a:gd name="T15" fmla="*/ 48 h 95"/>
                  <a:gd name="T16" fmla="*/ 56 w 267"/>
                  <a:gd name="T17" fmla="*/ 86 h 95"/>
                  <a:gd name="T18" fmla="*/ 70 w 267"/>
                  <a:gd name="T19" fmla="*/ 89 h 95"/>
                  <a:gd name="T20" fmla="*/ 70 w 267"/>
                  <a:gd name="T21" fmla="*/ 48 h 95"/>
                  <a:gd name="T22" fmla="*/ 103 w 267"/>
                  <a:gd name="T23" fmla="*/ 48 h 95"/>
                  <a:gd name="T24" fmla="*/ 103 w 267"/>
                  <a:gd name="T25" fmla="*/ 94 h 95"/>
                  <a:gd name="T26" fmla="*/ 117 w 267"/>
                  <a:gd name="T27" fmla="*/ 95 h 95"/>
                  <a:gd name="T28" fmla="*/ 117 w 267"/>
                  <a:gd name="T29" fmla="*/ 48 h 95"/>
                  <a:gd name="T30" fmla="*/ 150 w 267"/>
                  <a:gd name="T31" fmla="*/ 48 h 95"/>
                  <a:gd name="T32" fmla="*/ 150 w 267"/>
                  <a:gd name="T33" fmla="*/ 95 h 95"/>
                  <a:gd name="T34" fmla="*/ 164 w 267"/>
                  <a:gd name="T35" fmla="*/ 94 h 95"/>
                  <a:gd name="T36" fmla="*/ 164 w 267"/>
                  <a:gd name="T37" fmla="*/ 48 h 95"/>
                  <a:gd name="T38" fmla="*/ 197 w 267"/>
                  <a:gd name="T39" fmla="*/ 48 h 95"/>
                  <a:gd name="T40" fmla="*/ 197 w 267"/>
                  <a:gd name="T41" fmla="*/ 89 h 95"/>
                  <a:gd name="T42" fmla="*/ 211 w 267"/>
                  <a:gd name="T43" fmla="*/ 85 h 95"/>
                  <a:gd name="T44" fmla="*/ 211 w 267"/>
                  <a:gd name="T45" fmla="*/ 48 h 95"/>
                  <a:gd name="T46" fmla="*/ 244 w 267"/>
                  <a:gd name="T47" fmla="*/ 48 h 95"/>
                  <a:gd name="T48" fmla="*/ 244 w 267"/>
                  <a:gd name="T49" fmla="*/ 74 h 95"/>
                  <a:gd name="T50" fmla="*/ 267 w 267"/>
                  <a:gd name="T51" fmla="*/ 63 h 95"/>
                  <a:gd name="T52" fmla="*/ 267 w 267"/>
                  <a:gd name="T53" fmla="*/ 59 h 95"/>
                  <a:gd name="T54" fmla="*/ 267 w 267"/>
                  <a:gd name="T55" fmla="*/ 59 h 95"/>
                  <a:gd name="T56" fmla="*/ 267 w 267"/>
                  <a:gd name="T57" fmla="*/ 33 h 95"/>
                  <a:gd name="T58" fmla="*/ 133 w 267"/>
                  <a:gd name="T59"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7" h="95">
                    <a:moveTo>
                      <a:pt x="133" y="0"/>
                    </a:moveTo>
                    <a:cubicBezTo>
                      <a:pt x="85" y="0"/>
                      <a:pt x="42" y="11"/>
                      <a:pt x="0" y="32"/>
                    </a:cubicBezTo>
                    <a:cubicBezTo>
                      <a:pt x="0" y="59"/>
                      <a:pt x="0" y="59"/>
                      <a:pt x="0" y="59"/>
                    </a:cubicBezTo>
                    <a:cubicBezTo>
                      <a:pt x="0" y="59"/>
                      <a:pt x="0" y="59"/>
                      <a:pt x="0" y="59"/>
                    </a:cubicBezTo>
                    <a:cubicBezTo>
                      <a:pt x="0" y="63"/>
                      <a:pt x="0" y="63"/>
                      <a:pt x="0" y="63"/>
                    </a:cubicBezTo>
                    <a:cubicBezTo>
                      <a:pt x="7" y="67"/>
                      <a:pt x="15" y="71"/>
                      <a:pt x="23" y="74"/>
                    </a:cubicBezTo>
                    <a:cubicBezTo>
                      <a:pt x="23" y="48"/>
                      <a:pt x="23" y="48"/>
                      <a:pt x="23" y="48"/>
                    </a:cubicBezTo>
                    <a:cubicBezTo>
                      <a:pt x="56" y="48"/>
                      <a:pt x="56" y="48"/>
                      <a:pt x="56" y="48"/>
                    </a:cubicBezTo>
                    <a:cubicBezTo>
                      <a:pt x="56" y="86"/>
                      <a:pt x="56" y="86"/>
                      <a:pt x="56" y="86"/>
                    </a:cubicBezTo>
                    <a:cubicBezTo>
                      <a:pt x="61" y="87"/>
                      <a:pt x="65" y="88"/>
                      <a:pt x="70" y="89"/>
                    </a:cubicBezTo>
                    <a:cubicBezTo>
                      <a:pt x="70" y="48"/>
                      <a:pt x="70" y="48"/>
                      <a:pt x="70" y="48"/>
                    </a:cubicBezTo>
                    <a:cubicBezTo>
                      <a:pt x="103" y="48"/>
                      <a:pt x="103" y="48"/>
                      <a:pt x="103" y="48"/>
                    </a:cubicBezTo>
                    <a:cubicBezTo>
                      <a:pt x="103" y="94"/>
                      <a:pt x="103" y="94"/>
                      <a:pt x="103" y="94"/>
                    </a:cubicBezTo>
                    <a:cubicBezTo>
                      <a:pt x="108" y="94"/>
                      <a:pt x="113" y="95"/>
                      <a:pt x="117" y="95"/>
                    </a:cubicBezTo>
                    <a:cubicBezTo>
                      <a:pt x="117" y="48"/>
                      <a:pt x="117" y="48"/>
                      <a:pt x="117" y="48"/>
                    </a:cubicBezTo>
                    <a:cubicBezTo>
                      <a:pt x="150" y="48"/>
                      <a:pt x="150" y="48"/>
                      <a:pt x="150" y="48"/>
                    </a:cubicBezTo>
                    <a:cubicBezTo>
                      <a:pt x="150" y="95"/>
                      <a:pt x="150" y="95"/>
                      <a:pt x="150" y="95"/>
                    </a:cubicBezTo>
                    <a:cubicBezTo>
                      <a:pt x="155" y="95"/>
                      <a:pt x="160" y="95"/>
                      <a:pt x="164" y="94"/>
                    </a:cubicBezTo>
                    <a:cubicBezTo>
                      <a:pt x="164" y="48"/>
                      <a:pt x="164" y="48"/>
                      <a:pt x="164" y="48"/>
                    </a:cubicBezTo>
                    <a:cubicBezTo>
                      <a:pt x="197" y="48"/>
                      <a:pt x="197" y="48"/>
                      <a:pt x="197" y="48"/>
                    </a:cubicBezTo>
                    <a:cubicBezTo>
                      <a:pt x="197" y="89"/>
                      <a:pt x="197" y="89"/>
                      <a:pt x="197" y="89"/>
                    </a:cubicBezTo>
                    <a:cubicBezTo>
                      <a:pt x="202" y="87"/>
                      <a:pt x="207" y="86"/>
                      <a:pt x="211" y="85"/>
                    </a:cubicBezTo>
                    <a:cubicBezTo>
                      <a:pt x="211" y="48"/>
                      <a:pt x="211" y="48"/>
                      <a:pt x="211" y="48"/>
                    </a:cubicBezTo>
                    <a:cubicBezTo>
                      <a:pt x="244" y="48"/>
                      <a:pt x="244" y="48"/>
                      <a:pt x="244" y="48"/>
                    </a:cubicBezTo>
                    <a:cubicBezTo>
                      <a:pt x="244" y="74"/>
                      <a:pt x="244" y="74"/>
                      <a:pt x="244" y="74"/>
                    </a:cubicBezTo>
                    <a:cubicBezTo>
                      <a:pt x="252" y="70"/>
                      <a:pt x="259" y="67"/>
                      <a:pt x="267" y="63"/>
                    </a:cubicBezTo>
                    <a:cubicBezTo>
                      <a:pt x="267" y="59"/>
                      <a:pt x="267" y="59"/>
                      <a:pt x="267" y="59"/>
                    </a:cubicBezTo>
                    <a:cubicBezTo>
                      <a:pt x="267" y="59"/>
                      <a:pt x="267" y="59"/>
                      <a:pt x="267" y="59"/>
                    </a:cubicBezTo>
                    <a:cubicBezTo>
                      <a:pt x="267" y="33"/>
                      <a:pt x="267" y="33"/>
                      <a:pt x="267" y="33"/>
                    </a:cubicBezTo>
                    <a:cubicBezTo>
                      <a:pt x="232" y="11"/>
                      <a:pt x="182" y="0"/>
                      <a:pt x="133" y="0"/>
                    </a:cubicBezTo>
                    <a:close/>
                  </a:path>
                </a:pathLst>
              </a:cu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90" name="Freeform 165"/>
              <p:cNvSpPr>
                <a:spLocks noEditPoints="1"/>
              </p:cNvSpPr>
              <p:nvPr/>
            </p:nvSpPr>
            <p:spPr bwMode="ltGray">
              <a:xfrm>
                <a:off x="7461248" y="4723202"/>
                <a:ext cx="791430" cy="271211"/>
              </a:xfrm>
              <a:custGeom>
                <a:avLst/>
                <a:gdLst>
                  <a:gd name="T0" fmla="*/ 127 w 267"/>
                  <a:gd name="T1" fmla="*/ 32 h 91"/>
                  <a:gd name="T2" fmla="*/ 0 w 267"/>
                  <a:gd name="T3" fmla="*/ 0 h 91"/>
                  <a:gd name="T4" fmla="*/ 0 w 267"/>
                  <a:gd name="T5" fmla="*/ 91 h 91"/>
                  <a:gd name="T6" fmla="*/ 267 w 267"/>
                  <a:gd name="T7" fmla="*/ 91 h 91"/>
                  <a:gd name="T8" fmla="*/ 267 w 267"/>
                  <a:gd name="T9" fmla="*/ 0 h 91"/>
                  <a:gd name="T10" fmla="*/ 127 w 267"/>
                  <a:gd name="T11" fmla="*/ 32 h 91"/>
                  <a:gd name="T12" fmla="*/ 134 w 267"/>
                  <a:gd name="T13" fmla="*/ 68 h 91"/>
                  <a:gd name="T14" fmla="*/ 112 w 267"/>
                  <a:gd name="T15" fmla="*/ 69 h 91"/>
                  <a:gd name="T16" fmla="*/ 134 w 267"/>
                  <a:gd name="T17" fmla="*/ 50 h 91"/>
                  <a:gd name="T18" fmla="*/ 155 w 267"/>
                  <a:gd name="T19" fmla="*/ 69 h 91"/>
                  <a:gd name="T20" fmla="*/ 134 w 267"/>
                  <a:gd name="T21" fmla="*/ 6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7" h="91">
                    <a:moveTo>
                      <a:pt x="127" y="32"/>
                    </a:moveTo>
                    <a:cubicBezTo>
                      <a:pt x="79" y="32"/>
                      <a:pt x="36" y="21"/>
                      <a:pt x="0" y="0"/>
                    </a:cubicBezTo>
                    <a:cubicBezTo>
                      <a:pt x="0" y="91"/>
                      <a:pt x="0" y="91"/>
                      <a:pt x="0" y="91"/>
                    </a:cubicBezTo>
                    <a:cubicBezTo>
                      <a:pt x="267" y="91"/>
                      <a:pt x="267" y="91"/>
                      <a:pt x="267" y="91"/>
                    </a:cubicBezTo>
                    <a:cubicBezTo>
                      <a:pt x="267" y="0"/>
                      <a:pt x="267" y="0"/>
                      <a:pt x="267" y="0"/>
                    </a:cubicBezTo>
                    <a:cubicBezTo>
                      <a:pt x="224" y="20"/>
                      <a:pt x="175" y="32"/>
                      <a:pt x="127" y="32"/>
                    </a:cubicBezTo>
                    <a:close/>
                    <a:moveTo>
                      <a:pt x="134" y="68"/>
                    </a:moveTo>
                    <a:cubicBezTo>
                      <a:pt x="126" y="68"/>
                      <a:pt x="119" y="68"/>
                      <a:pt x="112" y="69"/>
                    </a:cubicBezTo>
                    <a:cubicBezTo>
                      <a:pt x="113" y="58"/>
                      <a:pt x="122" y="50"/>
                      <a:pt x="134" y="50"/>
                    </a:cubicBezTo>
                    <a:cubicBezTo>
                      <a:pt x="145" y="50"/>
                      <a:pt x="154" y="58"/>
                      <a:pt x="155" y="69"/>
                    </a:cubicBezTo>
                    <a:cubicBezTo>
                      <a:pt x="148" y="68"/>
                      <a:pt x="141" y="68"/>
                      <a:pt x="134" y="68"/>
                    </a:cubicBezTo>
                    <a:close/>
                  </a:path>
                </a:pathLst>
              </a:cu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grpSp>
        <p:sp>
          <p:nvSpPr>
            <p:cNvPr id="58" name="Freeform 210"/>
            <p:cNvSpPr>
              <a:spLocks/>
            </p:cNvSpPr>
            <p:nvPr/>
          </p:nvSpPr>
          <p:spPr bwMode="ltGray">
            <a:xfrm rot="3484613" flipH="1">
              <a:off x="3064617" y="5444564"/>
              <a:ext cx="282543" cy="196811"/>
            </a:xfrm>
            <a:custGeom>
              <a:avLst/>
              <a:gdLst>
                <a:gd name="T0" fmla="*/ 215 w 215"/>
                <a:gd name="T1" fmla="*/ 68 h 149"/>
                <a:gd name="T2" fmla="*/ 186 w 215"/>
                <a:gd name="T3" fmla="*/ 79 h 149"/>
                <a:gd name="T4" fmla="*/ 143 w 215"/>
                <a:gd name="T5" fmla="*/ 63 h 149"/>
                <a:gd name="T6" fmla="*/ 121 w 215"/>
                <a:gd name="T7" fmla="*/ 28 h 149"/>
                <a:gd name="T8" fmla="*/ 64 w 215"/>
                <a:gd name="T9" fmla="*/ 4 h 149"/>
                <a:gd name="T10" fmla="*/ 25 w 215"/>
                <a:gd name="T11" fmla="*/ 98 h 149"/>
                <a:gd name="T12" fmla="*/ 181 w 215"/>
                <a:gd name="T13" fmla="*/ 105 h 149"/>
                <a:gd name="T14" fmla="*/ 215 w 215"/>
                <a:gd name="T15" fmla="*/ 68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149">
                  <a:moveTo>
                    <a:pt x="215" y="68"/>
                  </a:moveTo>
                  <a:cubicBezTo>
                    <a:pt x="206" y="75"/>
                    <a:pt x="194" y="78"/>
                    <a:pt x="186" y="79"/>
                  </a:cubicBezTo>
                  <a:cubicBezTo>
                    <a:pt x="170" y="81"/>
                    <a:pt x="153" y="76"/>
                    <a:pt x="143" y="63"/>
                  </a:cubicBezTo>
                  <a:cubicBezTo>
                    <a:pt x="134" y="52"/>
                    <a:pt x="129" y="39"/>
                    <a:pt x="121" y="28"/>
                  </a:cubicBezTo>
                  <a:cubicBezTo>
                    <a:pt x="107" y="11"/>
                    <a:pt x="86" y="0"/>
                    <a:pt x="64" y="4"/>
                  </a:cubicBezTo>
                  <a:cubicBezTo>
                    <a:pt x="20" y="12"/>
                    <a:pt x="0" y="63"/>
                    <a:pt x="25" y="98"/>
                  </a:cubicBezTo>
                  <a:cubicBezTo>
                    <a:pt x="60" y="149"/>
                    <a:pt x="140" y="140"/>
                    <a:pt x="181" y="105"/>
                  </a:cubicBezTo>
                  <a:cubicBezTo>
                    <a:pt x="193" y="94"/>
                    <a:pt x="205" y="82"/>
                    <a:pt x="215" y="68"/>
                  </a:cubicBezTo>
                </a:path>
              </a:pathLst>
            </a:custGeom>
            <a:solidFill>
              <a:srgbClr val="FCD116"/>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grpSp>
          <p:nvGrpSpPr>
            <p:cNvPr id="59" name="Group 58"/>
            <p:cNvGrpSpPr/>
            <p:nvPr/>
          </p:nvGrpSpPr>
          <p:grpSpPr bwMode="ltGray">
            <a:xfrm rot="20599377">
              <a:off x="4246376" y="4815407"/>
              <a:ext cx="473311" cy="513537"/>
              <a:chOff x="5282834" y="4061827"/>
              <a:chExt cx="1035679" cy="1123703"/>
            </a:xfrm>
            <a:solidFill>
              <a:srgbClr val="FCD116"/>
            </a:solidFill>
          </p:grpSpPr>
          <p:sp>
            <p:nvSpPr>
              <p:cNvPr id="86" name="Freeform 158"/>
              <p:cNvSpPr>
                <a:spLocks noEditPoints="1"/>
              </p:cNvSpPr>
              <p:nvPr/>
            </p:nvSpPr>
            <p:spPr bwMode="ltGray">
              <a:xfrm>
                <a:off x="5282834" y="4538429"/>
                <a:ext cx="1035679" cy="647101"/>
              </a:xfrm>
              <a:custGeom>
                <a:avLst/>
                <a:gdLst>
                  <a:gd name="T0" fmla="*/ 283 w 297"/>
                  <a:gd name="T1" fmla="*/ 32 h 186"/>
                  <a:gd name="T2" fmla="*/ 249 w 297"/>
                  <a:gd name="T3" fmla="*/ 17 h 186"/>
                  <a:gd name="T4" fmla="*/ 230 w 297"/>
                  <a:gd name="T5" fmla="*/ 21 h 186"/>
                  <a:gd name="T6" fmla="*/ 230 w 297"/>
                  <a:gd name="T7" fmla="*/ 0 h 186"/>
                  <a:gd name="T8" fmla="*/ 3 w 297"/>
                  <a:gd name="T9" fmla="*/ 0 h 186"/>
                  <a:gd name="T10" fmla="*/ 9 w 297"/>
                  <a:gd name="T11" fmla="*/ 122 h 186"/>
                  <a:gd name="T12" fmla="*/ 104 w 297"/>
                  <a:gd name="T13" fmla="*/ 186 h 186"/>
                  <a:gd name="T14" fmla="*/ 104 w 297"/>
                  <a:gd name="T15" fmla="*/ 186 h 186"/>
                  <a:gd name="T16" fmla="*/ 128 w 297"/>
                  <a:gd name="T17" fmla="*/ 186 h 186"/>
                  <a:gd name="T18" fmla="*/ 128 w 297"/>
                  <a:gd name="T19" fmla="*/ 186 h 186"/>
                  <a:gd name="T20" fmla="*/ 221 w 297"/>
                  <a:gd name="T21" fmla="*/ 128 h 186"/>
                  <a:gd name="T22" fmla="*/ 227 w 297"/>
                  <a:gd name="T23" fmla="*/ 129 h 186"/>
                  <a:gd name="T24" fmla="*/ 297 w 297"/>
                  <a:gd name="T25" fmla="*/ 66 h 186"/>
                  <a:gd name="T26" fmla="*/ 283 w 297"/>
                  <a:gd name="T27" fmla="*/ 32 h 186"/>
                  <a:gd name="T28" fmla="*/ 227 w 297"/>
                  <a:gd name="T29" fmla="*/ 105 h 186"/>
                  <a:gd name="T30" fmla="*/ 230 w 297"/>
                  <a:gd name="T31" fmla="*/ 49 h 186"/>
                  <a:gd name="T32" fmla="*/ 238 w 297"/>
                  <a:gd name="T33" fmla="*/ 43 h 186"/>
                  <a:gd name="T34" fmla="*/ 274 w 297"/>
                  <a:gd name="T35" fmla="*/ 66 h 186"/>
                  <a:gd name="T36" fmla="*/ 227 w 297"/>
                  <a:gd name="T37" fmla="*/ 10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7" h="186">
                    <a:moveTo>
                      <a:pt x="283" y="32"/>
                    </a:moveTo>
                    <a:cubicBezTo>
                      <a:pt x="274" y="22"/>
                      <a:pt x="261" y="17"/>
                      <a:pt x="249" y="17"/>
                    </a:cubicBezTo>
                    <a:cubicBezTo>
                      <a:pt x="242" y="17"/>
                      <a:pt x="236" y="18"/>
                      <a:pt x="230" y="21"/>
                    </a:cubicBezTo>
                    <a:cubicBezTo>
                      <a:pt x="230" y="11"/>
                      <a:pt x="230" y="4"/>
                      <a:pt x="230" y="0"/>
                    </a:cubicBezTo>
                    <a:cubicBezTo>
                      <a:pt x="3" y="0"/>
                      <a:pt x="3" y="0"/>
                      <a:pt x="3" y="0"/>
                    </a:cubicBezTo>
                    <a:cubicBezTo>
                      <a:pt x="3" y="0"/>
                      <a:pt x="0" y="99"/>
                      <a:pt x="9" y="122"/>
                    </a:cubicBezTo>
                    <a:cubicBezTo>
                      <a:pt x="26" y="167"/>
                      <a:pt x="57" y="185"/>
                      <a:pt x="104" y="186"/>
                    </a:cubicBezTo>
                    <a:cubicBezTo>
                      <a:pt x="104" y="186"/>
                      <a:pt x="104" y="186"/>
                      <a:pt x="104" y="186"/>
                    </a:cubicBezTo>
                    <a:cubicBezTo>
                      <a:pt x="105" y="186"/>
                      <a:pt x="128" y="186"/>
                      <a:pt x="128" y="186"/>
                    </a:cubicBezTo>
                    <a:cubicBezTo>
                      <a:pt x="128" y="186"/>
                      <a:pt x="128" y="186"/>
                      <a:pt x="128" y="186"/>
                    </a:cubicBezTo>
                    <a:cubicBezTo>
                      <a:pt x="173" y="185"/>
                      <a:pt x="203" y="169"/>
                      <a:pt x="221" y="128"/>
                    </a:cubicBezTo>
                    <a:cubicBezTo>
                      <a:pt x="223" y="128"/>
                      <a:pt x="225" y="129"/>
                      <a:pt x="227" y="129"/>
                    </a:cubicBezTo>
                    <a:cubicBezTo>
                      <a:pt x="261" y="129"/>
                      <a:pt x="297" y="104"/>
                      <a:pt x="297" y="66"/>
                    </a:cubicBezTo>
                    <a:cubicBezTo>
                      <a:pt x="297" y="53"/>
                      <a:pt x="292" y="41"/>
                      <a:pt x="283" y="32"/>
                    </a:cubicBezTo>
                    <a:close/>
                    <a:moveTo>
                      <a:pt x="227" y="105"/>
                    </a:moveTo>
                    <a:cubicBezTo>
                      <a:pt x="229" y="90"/>
                      <a:pt x="230" y="69"/>
                      <a:pt x="230" y="49"/>
                    </a:cubicBezTo>
                    <a:cubicBezTo>
                      <a:pt x="232" y="47"/>
                      <a:pt x="235" y="44"/>
                      <a:pt x="238" y="43"/>
                    </a:cubicBezTo>
                    <a:cubicBezTo>
                      <a:pt x="255" y="35"/>
                      <a:pt x="274" y="48"/>
                      <a:pt x="274" y="66"/>
                    </a:cubicBezTo>
                    <a:cubicBezTo>
                      <a:pt x="274" y="90"/>
                      <a:pt x="249" y="105"/>
                      <a:pt x="227" y="105"/>
                    </a:cubicBezTo>
                    <a:close/>
                  </a:path>
                </a:pathLst>
              </a:cu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87" name="Freeform 159"/>
              <p:cNvSpPr>
                <a:spLocks/>
              </p:cNvSpPr>
              <p:nvPr/>
            </p:nvSpPr>
            <p:spPr bwMode="ltGray">
              <a:xfrm>
                <a:off x="5662688" y="4061827"/>
                <a:ext cx="432194" cy="399680"/>
              </a:xfrm>
              <a:custGeom>
                <a:avLst/>
                <a:gdLst>
                  <a:gd name="T0" fmla="*/ 3 w 124"/>
                  <a:gd name="T1" fmla="*/ 115 h 115"/>
                  <a:gd name="T2" fmla="*/ 11 w 124"/>
                  <a:gd name="T3" fmla="*/ 95 h 115"/>
                  <a:gd name="T4" fmla="*/ 40 w 124"/>
                  <a:gd name="T5" fmla="*/ 81 h 115"/>
                  <a:gd name="T6" fmla="*/ 67 w 124"/>
                  <a:gd name="T7" fmla="*/ 87 h 115"/>
                  <a:gd name="T8" fmla="*/ 107 w 124"/>
                  <a:gd name="T9" fmla="*/ 71 h 115"/>
                  <a:gd name="T10" fmla="*/ 79 w 124"/>
                  <a:gd name="T11" fmla="*/ 7 h 115"/>
                  <a:gd name="T12" fmla="*/ 1 w 124"/>
                  <a:gd name="T13" fmla="*/ 80 h 115"/>
                  <a:gd name="T14" fmla="*/ 3 w 124"/>
                  <a:gd name="T15" fmla="*/ 115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115">
                    <a:moveTo>
                      <a:pt x="3" y="115"/>
                    </a:moveTo>
                    <a:cubicBezTo>
                      <a:pt x="3" y="107"/>
                      <a:pt x="8" y="99"/>
                      <a:pt x="11" y="95"/>
                    </a:cubicBezTo>
                    <a:cubicBezTo>
                      <a:pt x="18" y="86"/>
                      <a:pt x="28" y="80"/>
                      <a:pt x="40" y="81"/>
                    </a:cubicBezTo>
                    <a:cubicBezTo>
                      <a:pt x="49" y="82"/>
                      <a:pt x="58" y="86"/>
                      <a:pt x="67" y="87"/>
                    </a:cubicBezTo>
                    <a:cubicBezTo>
                      <a:pt x="82" y="89"/>
                      <a:pt x="98" y="84"/>
                      <a:pt x="107" y="71"/>
                    </a:cubicBezTo>
                    <a:cubicBezTo>
                      <a:pt x="124" y="46"/>
                      <a:pt x="108" y="12"/>
                      <a:pt x="79" y="7"/>
                    </a:cubicBezTo>
                    <a:cubicBezTo>
                      <a:pt x="37" y="0"/>
                      <a:pt x="3" y="43"/>
                      <a:pt x="1" y="80"/>
                    </a:cubicBezTo>
                    <a:cubicBezTo>
                      <a:pt x="0" y="91"/>
                      <a:pt x="0" y="103"/>
                      <a:pt x="3" y="115"/>
                    </a:cubicBezTo>
                  </a:path>
                </a:pathLst>
              </a:cu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88" name="Freeform 160"/>
              <p:cNvSpPr>
                <a:spLocks/>
              </p:cNvSpPr>
              <p:nvPr/>
            </p:nvSpPr>
            <p:spPr bwMode="ltGray">
              <a:xfrm>
                <a:off x="5373237" y="4249772"/>
                <a:ext cx="244249" cy="236319"/>
              </a:xfrm>
              <a:custGeom>
                <a:avLst/>
                <a:gdLst>
                  <a:gd name="T0" fmla="*/ 70 w 70"/>
                  <a:gd name="T1" fmla="*/ 61 h 68"/>
                  <a:gd name="T2" fmla="*/ 57 w 70"/>
                  <a:gd name="T3" fmla="*/ 58 h 68"/>
                  <a:gd name="T4" fmla="*/ 47 w 70"/>
                  <a:gd name="T5" fmla="*/ 43 h 68"/>
                  <a:gd name="T6" fmla="*/ 47 w 70"/>
                  <a:gd name="T7" fmla="*/ 27 h 68"/>
                  <a:gd name="T8" fmla="*/ 33 w 70"/>
                  <a:gd name="T9" fmla="*/ 7 h 68"/>
                  <a:gd name="T10" fmla="*/ 0 w 70"/>
                  <a:gd name="T11" fmla="*/ 30 h 68"/>
                  <a:gd name="T12" fmla="*/ 50 w 70"/>
                  <a:gd name="T13" fmla="*/ 66 h 68"/>
                  <a:gd name="T14" fmla="*/ 70 w 70"/>
                  <a:gd name="T15" fmla="*/ 61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8">
                    <a:moveTo>
                      <a:pt x="70" y="61"/>
                    </a:moveTo>
                    <a:cubicBezTo>
                      <a:pt x="65" y="61"/>
                      <a:pt x="60" y="60"/>
                      <a:pt x="57" y="58"/>
                    </a:cubicBezTo>
                    <a:cubicBezTo>
                      <a:pt x="52" y="55"/>
                      <a:pt x="47" y="50"/>
                      <a:pt x="47" y="43"/>
                    </a:cubicBezTo>
                    <a:cubicBezTo>
                      <a:pt x="46" y="38"/>
                      <a:pt x="47" y="33"/>
                      <a:pt x="47" y="27"/>
                    </a:cubicBezTo>
                    <a:cubicBezTo>
                      <a:pt x="46" y="19"/>
                      <a:pt x="42" y="10"/>
                      <a:pt x="33" y="7"/>
                    </a:cubicBezTo>
                    <a:cubicBezTo>
                      <a:pt x="17" y="0"/>
                      <a:pt x="0" y="13"/>
                      <a:pt x="0" y="30"/>
                    </a:cubicBezTo>
                    <a:cubicBezTo>
                      <a:pt x="1" y="54"/>
                      <a:pt x="29" y="68"/>
                      <a:pt x="50" y="66"/>
                    </a:cubicBezTo>
                    <a:cubicBezTo>
                      <a:pt x="57" y="65"/>
                      <a:pt x="63" y="63"/>
                      <a:pt x="70" y="61"/>
                    </a:cubicBezTo>
                  </a:path>
                </a:pathLst>
              </a:cu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grpSp>
        <p:sp>
          <p:nvSpPr>
            <p:cNvPr id="60" name="Freeform 39"/>
            <p:cNvSpPr>
              <a:spLocks/>
            </p:cNvSpPr>
            <p:nvPr/>
          </p:nvSpPr>
          <p:spPr bwMode="ltGray">
            <a:xfrm rot="-1800000">
              <a:off x="5211592" y="5877999"/>
              <a:ext cx="248733" cy="359914"/>
            </a:xfrm>
            <a:custGeom>
              <a:avLst/>
              <a:gdLst>
                <a:gd name="T0" fmla="*/ 233363 w 554038"/>
                <a:gd name="T1" fmla="*/ 242888 h 801688"/>
                <a:gd name="T2" fmla="*/ 260097 w 554038"/>
                <a:gd name="T3" fmla="*/ 455613 h 801688"/>
                <a:gd name="T4" fmla="*/ 263917 w 554038"/>
                <a:gd name="T5" fmla="*/ 451815 h 801688"/>
                <a:gd name="T6" fmla="*/ 302109 w 554038"/>
                <a:gd name="T7" fmla="*/ 417627 h 801688"/>
                <a:gd name="T8" fmla="*/ 336481 w 554038"/>
                <a:gd name="T9" fmla="*/ 387237 h 801688"/>
                <a:gd name="T10" fmla="*/ 431962 w 554038"/>
                <a:gd name="T11" fmla="*/ 353049 h 801688"/>
                <a:gd name="T12" fmla="*/ 477792 w 554038"/>
                <a:gd name="T13" fmla="*/ 360647 h 801688"/>
                <a:gd name="T14" fmla="*/ 496888 w 554038"/>
                <a:gd name="T15" fmla="*/ 242888 h 801688"/>
                <a:gd name="T16" fmla="*/ 233363 w 554038"/>
                <a:gd name="T17" fmla="*/ 242888 h 801688"/>
                <a:gd name="T18" fmla="*/ 133350 w 554038"/>
                <a:gd name="T19" fmla="*/ 242888 h 801688"/>
                <a:gd name="T20" fmla="*/ 168137 w 554038"/>
                <a:gd name="T21" fmla="*/ 460672 h 801688"/>
                <a:gd name="T22" fmla="*/ 206789 w 554038"/>
                <a:gd name="T23" fmla="*/ 468313 h 801688"/>
                <a:gd name="T24" fmla="*/ 222250 w 554038"/>
                <a:gd name="T25" fmla="*/ 468313 h 801688"/>
                <a:gd name="T26" fmla="*/ 195193 w 554038"/>
                <a:gd name="T27" fmla="*/ 242888 h 801688"/>
                <a:gd name="T28" fmla="*/ 133350 w 554038"/>
                <a:gd name="T29" fmla="*/ 242888 h 801688"/>
                <a:gd name="T30" fmla="*/ 11113 w 554038"/>
                <a:gd name="T31" fmla="*/ 0 h 801688"/>
                <a:gd name="T32" fmla="*/ 211138 w 554038"/>
                <a:gd name="T33" fmla="*/ 73025 h 801688"/>
                <a:gd name="T34" fmla="*/ 225425 w 554038"/>
                <a:gd name="T35" fmla="*/ 193675 h 801688"/>
                <a:gd name="T36" fmla="*/ 554038 w 554038"/>
                <a:gd name="T37" fmla="*/ 193675 h 801688"/>
                <a:gd name="T38" fmla="*/ 466725 w 554038"/>
                <a:gd name="T39" fmla="*/ 801688 h 801688"/>
                <a:gd name="T40" fmla="*/ 168275 w 554038"/>
                <a:gd name="T41" fmla="*/ 801688 h 801688"/>
                <a:gd name="T42" fmla="*/ 76200 w 554038"/>
                <a:gd name="T43" fmla="*/ 193675 h 801688"/>
                <a:gd name="T44" fmla="*/ 187325 w 554038"/>
                <a:gd name="T45" fmla="*/ 193675 h 801688"/>
                <a:gd name="T46" fmla="*/ 176213 w 554038"/>
                <a:gd name="T47" fmla="*/ 98425 h 801688"/>
                <a:gd name="T48" fmla="*/ 0 w 554038"/>
                <a:gd name="T49" fmla="*/ 34925 h 801688"/>
                <a:gd name="T50" fmla="*/ 11113 w 554038"/>
                <a:gd name="T51" fmla="*/ 0 h 80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4038" h="801688">
                  <a:moveTo>
                    <a:pt x="233363" y="242888"/>
                  </a:moveTo>
                  <a:cubicBezTo>
                    <a:pt x="233363" y="242888"/>
                    <a:pt x="233363" y="242888"/>
                    <a:pt x="260097" y="455613"/>
                  </a:cubicBezTo>
                  <a:cubicBezTo>
                    <a:pt x="260097" y="451822"/>
                    <a:pt x="263901" y="451815"/>
                    <a:pt x="263917" y="451815"/>
                  </a:cubicBezTo>
                  <a:cubicBezTo>
                    <a:pt x="279193" y="444217"/>
                    <a:pt x="290651" y="432821"/>
                    <a:pt x="302109" y="417627"/>
                  </a:cubicBezTo>
                  <a:cubicBezTo>
                    <a:pt x="313566" y="406231"/>
                    <a:pt x="325024" y="394835"/>
                    <a:pt x="336481" y="387237"/>
                  </a:cubicBezTo>
                  <a:cubicBezTo>
                    <a:pt x="367035" y="364445"/>
                    <a:pt x="401408" y="353049"/>
                    <a:pt x="431962" y="353049"/>
                  </a:cubicBezTo>
                  <a:lnTo>
                    <a:pt x="477792" y="360647"/>
                  </a:lnTo>
                  <a:cubicBezTo>
                    <a:pt x="477792" y="360647"/>
                    <a:pt x="477792" y="360647"/>
                    <a:pt x="496888" y="242888"/>
                  </a:cubicBezTo>
                  <a:cubicBezTo>
                    <a:pt x="496888" y="242888"/>
                    <a:pt x="496888" y="242888"/>
                    <a:pt x="233363" y="242888"/>
                  </a:cubicBezTo>
                  <a:close/>
                  <a:moveTo>
                    <a:pt x="133350" y="242888"/>
                  </a:moveTo>
                  <a:cubicBezTo>
                    <a:pt x="133352" y="242902"/>
                    <a:pt x="133628" y="244628"/>
                    <a:pt x="168137" y="460672"/>
                  </a:cubicBezTo>
                  <a:cubicBezTo>
                    <a:pt x="179733" y="468313"/>
                    <a:pt x="195193" y="468313"/>
                    <a:pt x="206789" y="468313"/>
                  </a:cubicBezTo>
                  <a:cubicBezTo>
                    <a:pt x="214520" y="468313"/>
                    <a:pt x="218385" y="468313"/>
                    <a:pt x="222250" y="468313"/>
                  </a:cubicBezTo>
                  <a:cubicBezTo>
                    <a:pt x="222248" y="468299"/>
                    <a:pt x="222035" y="466525"/>
                    <a:pt x="195193" y="242888"/>
                  </a:cubicBezTo>
                  <a:cubicBezTo>
                    <a:pt x="195181" y="242888"/>
                    <a:pt x="194319" y="242888"/>
                    <a:pt x="133350" y="242888"/>
                  </a:cubicBezTo>
                  <a:close/>
                  <a:moveTo>
                    <a:pt x="11113" y="0"/>
                  </a:moveTo>
                  <a:lnTo>
                    <a:pt x="211138" y="73025"/>
                  </a:lnTo>
                  <a:lnTo>
                    <a:pt x="225425" y="193675"/>
                  </a:lnTo>
                  <a:lnTo>
                    <a:pt x="554038" y="193675"/>
                  </a:lnTo>
                  <a:lnTo>
                    <a:pt x="466725" y="801688"/>
                  </a:lnTo>
                  <a:lnTo>
                    <a:pt x="168275" y="801688"/>
                  </a:lnTo>
                  <a:lnTo>
                    <a:pt x="76200" y="193675"/>
                  </a:lnTo>
                  <a:lnTo>
                    <a:pt x="187325" y="193675"/>
                  </a:lnTo>
                  <a:lnTo>
                    <a:pt x="176213" y="98425"/>
                  </a:lnTo>
                  <a:lnTo>
                    <a:pt x="0" y="34925"/>
                  </a:lnTo>
                  <a:lnTo>
                    <a:pt x="11113" y="0"/>
                  </a:lnTo>
                  <a:close/>
                </a:path>
              </a:pathLst>
            </a:custGeom>
            <a:solidFill>
              <a:srgbClr val="F358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61" name="Group 60"/>
            <p:cNvGrpSpPr/>
            <p:nvPr/>
          </p:nvGrpSpPr>
          <p:grpSpPr bwMode="ltGray">
            <a:xfrm rot="1419656">
              <a:off x="4861396" y="5510771"/>
              <a:ext cx="506682" cy="300388"/>
              <a:chOff x="6573070" y="5804875"/>
              <a:chExt cx="954791" cy="566050"/>
            </a:xfrm>
            <a:solidFill>
              <a:srgbClr val="4F2170"/>
            </a:solidFill>
          </p:grpSpPr>
          <p:sp>
            <p:nvSpPr>
              <p:cNvPr id="79" name="Freeform 50"/>
              <p:cNvSpPr>
                <a:spLocks/>
              </p:cNvSpPr>
              <p:nvPr/>
            </p:nvSpPr>
            <p:spPr bwMode="ltGray">
              <a:xfrm>
                <a:off x="7071542" y="6213689"/>
                <a:ext cx="202734" cy="157236"/>
              </a:xfrm>
              <a:custGeom>
                <a:avLst/>
                <a:gdLst>
                  <a:gd name="T0" fmla="*/ 52 w 52"/>
                  <a:gd name="T1" fmla="*/ 6 h 40"/>
                  <a:gd name="T2" fmla="*/ 46 w 52"/>
                  <a:gd name="T3" fmla="*/ 0 h 40"/>
                  <a:gd name="T4" fmla="*/ 6 w 52"/>
                  <a:gd name="T5" fmla="*/ 0 h 40"/>
                  <a:gd name="T6" fmla="*/ 0 w 52"/>
                  <a:gd name="T7" fmla="*/ 6 h 40"/>
                  <a:gd name="T8" fmla="*/ 0 w 52"/>
                  <a:gd name="T9" fmla="*/ 34 h 40"/>
                  <a:gd name="T10" fmla="*/ 6 w 52"/>
                  <a:gd name="T11" fmla="*/ 40 h 40"/>
                  <a:gd name="T12" fmla="*/ 46 w 52"/>
                  <a:gd name="T13" fmla="*/ 40 h 40"/>
                  <a:gd name="T14" fmla="*/ 52 w 52"/>
                  <a:gd name="T15" fmla="*/ 34 h 40"/>
                  <a:gd name="T16" fmla="*/ 52 w 52"/>
                  <a:gd name="T17"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0">
                    <a:moveTo>
                      <a:pt x="52" y="6"/>
                    </a:moveTo>
                    <a:cubicBezTo>
                      <a:pt x="52" y="2"/>
                      <a:pt x="49" y="0"/>
                      <a:pt x="46" y="0"/>
                    </a:cubicBezTo>
                    <a:cubicBezTo>
                      <a:pt x="6" y="0"/>
                      <a:pt x="6" y="0"/>
                      <a:pt x="6" y="0"/>
                    </a:cubicBezTo>
                    <a:cubicBezTo>
                      <a:pt x="3" y="0"/>
                      <a:pt x="0" y="2"/>
                      <a:pt x="0" y="6"/>
                    </a:cubicBezTo>
                    <a:cubicBezTo>
                      <a:pt x="0" y="34"/>
                      <a:pt x="0" y="34"/>
                      <a:pt x="0" y="34"/>
                    </a:cubicBezTo>
                    <a:cubicBezTo>
                      <a:pt x="0" y="37"/>
                      <a:pt x="3" y="40"/>
                      <a:pt x="6" y="40"/>
                    </a:cubicBezTo>
                    <a:cubicBezTo>
                      <a:pt x="46" y="40"/>
                      <a:pt x="46" y="40"/>
                      <a:pt x="46" y="40"/>
                    </a:cubicBezTo>
                    <a:cubicBezTo>
                      <a:pt x="49" y="40"/>
                      <a:pt x="52" y="37"/>
                      <a:pt x="52" y="34"/>
                    </a:cubicBezTo>
                    <a:lnTo>
                      <a:pt x="52" y="6"/>
                    </a:lnTo>
                    <a:close/>
                  </a:path>
                </a:pathLst>
              </a:cu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80" name="Freeform 51"/>
              <p:cNvSpPr>
                <a:spLocks/>
              </p:cNvSpPr>
              <p:nvPr/>
            </p:nvSpPr>
            <p:spPr bwMode="ltGray">
              <a:xfrm>
                <a:off x="7071542" y="6013631"/>
                <a:ext cx="202734" cy="157236"/>
              </a:xfrm>
              <a:custGeom>
                <a:avLst/>
                <a:gdLst>
                  <a:gd name="T0" fmla="*/ 52 w 52"/>
                  <a:gd name="T1" fmla="*/ 6 h 40"/>
                  <a:gd name="T2" fmla="*/ 46 w 52"/>
                  <a:gd name="T3" fmla="*/ 0 h 40"/>
                  <a:gd name="T4" fmla="*/ 6 w 52"/>
                  <a:gd name="T5" fmla="*/ 0 h 40"/>
                  <a:gd name="T6" fmla="*/ 0 w 52"/>
                  <a:gd name="T7" fmla="*/ 6 h 40"/>
                  <a:gd name="T8" fmla="*/ 0 w 52"/>
                  <a:gd name="T9" fmla="*/ 34 h 40"/>
                  <a:gd name="T10" fmla="*/ 6 w 52"/>
                  <a:gd name="T11" fmla="*/ 40 h 40"/>
                  <a:gd name="T12" fmla="*/ 46 w 52"/>
                  <a:gd name="T13" fmla="*/ 40 h 40"/>
                  <a:gd name="T14" fmla="*/ 52 w 52"/>
                  <a:gd name="T15" fmla="*/ 34 h 40"/>
                  <a:gd name="T16" fmla="*/ 52 w 52"/>
                  <a:gd name="T17"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0">
                    <a:moveTo>
                      <a:pt x="52" y="6"/>
                    </a:moveTo>
                    <a:cubicBezTo>
                      <a:pt x="52" y="2"/>
                      <a:pt x="49" y="0"/>
                      <a:pt x="46" y="0"/>
                    </a:cubicBezTo>
                    <a:cubicBezTo>
                      <a:pt x="6" y="0"/>
                      <a:pt x="6" y="0"/>
                      <a:pt x="6" y="0"/>
                    </a:cubicBezTo>
                    <a:cubicBezTo>
                      <a:pt x="3" y="0"/>
                      <a:pt x="0" y="2"/>
                      <a:pt x="0" y="6"/>
                    </a:cubicBezTo>
                    <a:cubicBezTo>
                      <a:pt x="0" y="34"/>
                      <a:pt x="0" y="34"/>
                      <a:pt x="0" y="34"/>
                    </a:cubicBezTo>
                    <a:cubicBezTo>
                      <a:pt x="0" y="37"/>
                      <a:pt x="3" y="40"/>
                      <a:pt x="6" y="40"/>
                    </a:cubicBezTo>
                    <a:cubicBezTo>
                      <a:pt x="46" y="40"/>
                      <a:pt x="46" y="40"/>
                      <a:pt x="46" y="40"/>
                    </a:cubicBezTo>
                    <a:cubicBezTo>
                      <a:pt x="49" y="40"/>
                      <a:pt x="52" y="37"/>
                      <a:pt x="52" y="34"/>
                    </a:cubicBezTo>
                    <a:lnTo>
                      <a:pt x="52" y="6"/>
                    </a:lnTo>
                    <a:close/>
                  </a:path>
                </a:pathLst>
              </a:cu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81" name="Freeform 52"/>
              <p:cNvSpPr>
                <a:spLocks/>
              </p:cNvSpPr>
              <p:nvPr/>
            </p:nvSpPr>
            <p:spPr bwMode="ltGray">
              <a:xfrm>
                <a:off x="7325127" y="6213689"/>
                <a:ext cx="202734" cy="157236"/>
              </a:xfrm>
              <a:custGeom>
                <a:avLst/>
                <a:gdLst>
                  <a:gd name="T0" fmla="*/ 52 w 52"/>
                  <a:gd name="T1" fmla="*/ 6 h 40"/>
                  <a:gd name="T2" fmla="*/ 46 w 52"/>
                  <a:gd name="T3" fmla="*/ 0 h 40"/>
                  <a:gd name="T4" fmla="*/ 6 w 52"/>
                  <a:gd name="T5" fmla="*/ 0 h 40"/>
                  <a:gd name="T6" fmla="*/ 0 w 52"/>
                  <a:gd name="T7" fmla="*/ 6 h 40"/>
                  <a:gd name="T8" fmla="*/ 0 w 52"/>
                  <a:gd name="T9" fmla="*/ 34 h 40"/>
                  <a:gd name="T10" fmla="*/ 6 w 52"/>
                  <a:gd name="T11" fmla="*/ 40 h 40"/>
                  <a:gd name="T12" fmla="*/ 46 w 52"/>
                  <a:gd name="T13" fmla="*/ 40 h 40"/>
                  <a:gd name="T14" fmla="*/ 52 w 52"/>
                  <a:gd name="T15" fmla="*/ 34 h 40"/>
                  <a:gd name="T16" fmla="*/ 52 w 52"/>
                  <a:gd name="T17"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0">
                    <a:moveTo>
                      <a:pt x="52" y="6"/>
                    </a:moveTo>
                    <a:cubicBezTo>
                      <a:pt x="52" y="2"/>
                      <a:pt x="50" y="0"/>
                      <a:pt x="46" y="0"/>
                    </a:cubicBezTo>
                    <a:cubicBezTo>
                      <a:pt x="6" y="0"/>
                      <a:pt x="6" y="0"/>
                      <a:pt x="6" y="0"/>
                    </a:cubicBezTo>
                    <a:cubicBezTo>
                      <a:pt x="3" y="0"/>
                      <a:pt x="0" y="2"/>
                      <a:pt x="0" y="6"/>
                    </a:cubicBezTo>
                    <a:cubicBezTo>
                      <a:pt x="0" y="34"/>
                      <a:pt x="0" y="34"/>
                      <a:pt x="0" y="34"/>
                    </a:cubicBezTo>
                    <a:cubicBezTo>
                      <a:pt x="0" y="37"/>
                      <a:pt x="3" y="40"/>
                      <a:pt x="6" y="40"/>
                    </a:cubicBezTo>
                    <a:cubicBezTo>
                      <a:pt x="46" y="40"/>
                      <a:pt x="46" y="40"/>
                      <a:pt x="46" y="40"/>
                    </a:cubicBezTo>
                    <a:cubicBezTo>
                      <a:pt x="50" y="40"/>
                      <a:pt x="52" y="37"/>
                      <a:pt x="52" y="34"/>
                    </a:cubicBezTo>
                    <a:lnTo>
                      <a:pt x="52" y="6"/>
                    </a:lnTo>
                    <a:close/>
                  </a:path>
                </a:pathLst>
              </a:cu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82" name="Freeform 53"/>
              <p:cNvSpPr>
                <a:spLocks/>
              </p:cNvSpPr>
              <p:nvPr/>
            </p:nvSpPr>
            <p:spPr bwMode="ltGray">
              <a:xfrm>
                <a:off x="7325127" y="6013631"/>
                <a:ext cx="202734" cy="157236"/>
              </a:xfrm>
              <a:custGeom>
                <a:avLst/>
                <a:gdLst>
                  <a:gd name="T0" fmla="*/ 52 w 52"/>
                  <a:gd name="T1" fmla="*/ 6 h 40"/>
                  <a:gd name="T2" fmla="*/ 46 w 52"/>
                  <a:gd name="T3" fmla="*/ 0 h 40"/>
                  <a:gd name="T4" fmla="*/ 6 w 52"/>
                  <a:gd name="T5" fmla="*/ 0 h 40"/>
                  <a:gd name="T6" fmla="*/ 0 w 52"/>
                  <a:gd name="T7" fmla="*/ 6 h 40"/>
                  <a:gd name="T8" fmla="*/ 0 w 52"/>
                  <a:gd name="T9" fmla="*/ 34 h 40"/>
                  <a:gd name="T10" fmla="*/ 6 w 52"/>
                  <a:gd name="T11" fmla="*/ 40 h 40"/>
                  <a:gd name="T12" fmla="*/ 46 w 52"/>
                  <a:gd name="T13" fmla="*/ 40 h 40"/>
                  <a:gd name="T14" fmla="*/ 52 w 52"/>
                  <a:gd name="T15" fmla="*/ 34 h 40"/>
                  <a:gd name="T16" fmla="*/ 52 w 52"/>
                  <a:gd name="T17"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0">
                    <a:moveTo>
                      <a:pt x="52" y="6"/>
                    </a:moveTo>
                    <a:cubicBezTo>
                      <a:pt x="52" y="2"/>
                      <a:pt x="50" y="0"/>
                      <a:pt x="46" y="0"/>
                    </a:cubicBezTo>
                    <a:cubicBezTo>
                      <a:pt x="6" y="0"/>
                      <a:pt x="6" y="0"/>
                      <a:pt x="6" y="0"/>
                    </a:cubicBezTo>
                    <a:cubicBezTo>
                      <a:pt x="3" y="0"/>
                      <a:pt x="0" y="2"/>
                      <a:pt x="0" y="6"/>
                    </a:cubicBezTo>
                    <a:cubicBezTo>
                      <a:pt x="0" y="34"/>
                      <a:pt x="0" y="34"/>
                      <a:pt x="0" y="34"/>
                    </a:cubicBezTo>
                    <a:cubicBezTo>
                      <a:pt x="0" y="37"/>
                      <a:pt x="3" y="40"/>
                      <a:pt x="6" y="40"/>
                    </a:cubicBezTo>
                    <a:cubicBezTo>
                      <a:pt x="46" y="40"/>
                      <a:pt x="46" y="40"/>
                      <a:pt x="46" y="40"/>
                    </a:cubicBezTo>
                    <a:cubicBezTo>
                      <a:pt x="50" y="40"/>
                      <a:pt x="52" y="37"/>
                      <a:pt x="52" y="34"/>
                    </a:cubicBezTo>
                    <a:lnTo>
                      <a:pt x="52" y="6"/>
                    </a:lnTo>
                    <a:close/>
                  </a:path>
                </a:pathLst>
              </a:cu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83" name="Freeform 54"/>
              <p:cNvSpPr>
                <a:spLocks/>
              </p:cNvSpPr>
              <p:nvPr/>
            </p:nvSpPr>
            <p:spPr bwMode="ltGray">
              <a:xfrm>
                <a:off x="7071542" y="5808890"/>
                <a:ext cx="202734" cy="157236"/>
              </a:xfrm>
              <a:custGeom>
                <a:avLst/>
                <a:gdLst>
                  <a:gd name="T0" fmla="*/ 52 w 52"/>
                  <a:gd name="T1" fmla="*/ 6 h 40"/>
                  <a:gd name="T2" fmla="*/ 46 w 52"/>
                  <a:gd name="T3" fmla="*/ 0 h 40"/>
                  <a:gd name="T4" fmla="*/ 6 w 52"/>
                  <a:gd name="T5" fmla="*/ 0 h 40"/>
                  <a:gd name="T6" fmla="*/ 0 w 52"/>
                  <a:gd name="T7" fmla="*/ 6 h 40"/>
                  <a:gd name="T8" fmla="*/ 0 w 52"/>
                  <a:gd name="T9" fmla="*/ 34 h 40"/>
                  <a:gd name="T10" fmla="*/ 6 w 52"/>
                  <a:gd name="T11" fmla="*/ 40 h 40"/>
                  <a:gd name="T12" fmla="*/ 46 w 52"/>
                  <a:gd name="T13" fmla="*/ 40 h 40"/>
                  <a:gd name="T14" fmla="*/ 52 w 52"/>
                  <a:gd name="T15" fmla="*/ 34 h 40"/>
                  <a:gd name="T16" fmla="*/ 52 w 52"/>
                  <a:gd name="T17"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0">
                    <a:moveTo>
                      <a:pt x="52" y="6"/>
                    </a:moveTo>
                    <a:cubicBezTo>
                      <a:pt x="52" y="2"/>
                      <a:pt x="49" y="0"/>
                      <a:pt x="46" y="0"/>
                    </a:cubicBezTo>
                    <a:cubicBezTo>
                      <a:pt x="6" y="0"/>
                      <a:pt x="6" y="0"/>
                      <a:pt x="6" y="0"/>
                    </a:cubicBezTo>
                    <a:cubicBezTo>
                      <a:pt x="3" y="0"/>
                      <a:pt x="0" y="2"/>
                      <a:pt x="0" y="6"/>
                    </a:cubicBezTo>
                    <a:cubicBezTo>
                      <a:pt x="0" y="34"/>
                      <a:pt x="0" y="34"/>
                      <a:pt x="0" y="34"/>
                    </a:cubicBezTo>
                    <a:cubicBezTo>
                      <a:pt x="0" y="37"/>
                      <a:pt x="3" y="40"/>
                      <a:pt x="6" y="40"/>
                    </a:cubicBezTo>
                    <a:cubicBezTo>
                      <a:pt x="46" y="40"/>
                      <a:pt x="46" y="40"/>
                      <a:pt x="46" y="40"/>
                    </a:cubicBezTo>
                    <a:cubicBezTo>
                      <a:pt x="49" y="40"/>
                      <a:pt x="52" y="37"/>
                      <a:pt x="52" y="34"/>
                    </a:cubicBezTo>
                    <a:lnTo>
                      <a:pt x="52" y="6"/>
                    </a:lnTo>
                    <a:close/>
                  </a:path>
                </a:pathLst>
              </a:cu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84" name="Freeform 55"/>
              <p:cNvSpPr>
                <a:spLocks/>
              </p:cNvSpPr>
              <p:nvPr/>
            </p:nvSpPr>
            <p:spPr bwMode="ltGray">
              <a:xfrm>
                <a:off x="7325127" y="5808890"/>
                <a:ext cx="202734" cy="157236"/>
              </a:xfrm>
              <a:custGeom>
                <a:avLst/>
                <a:gdLst>
                  <a:gd name="T0" fmla="*/ 52 w 52"/>
                  <a:gd name="T1" fmla="*/ 6 h 40"/>
                  <a:gd name="T2" fmla="*/ 46 w 52"/>
                  <a:gd name="T3" fmla="*/ 0 h 40"/>
                  <a:gd name="T4" fmla="*/ 6 w 52"/>
                  <a:gd name="T5" fmla="*/ 0 h 40"/>
                  <a:gd name="T6" fmla="*/ 0 w 52"/>
                  <a:gd name="T7" fmla="*/ 6 h 40"/>
                  <a:gd name="T8" fmla="*/ 0 w 52"/>
                  <a:gd name="T9" fmla="*/ 34 h 40"/>
                  <a:gd name="T10" fmla="*/ 6 w 52"/>
                  <a:gd name="T11" fmla="*/ 40 h 40"/>
                  <a:gd name="T12" fmla="*/ 46 w 52"/>
                  <a:gd name="T13" fmla="*/ 40 h 40"/>
                  <a:gd name="T14" fmla="*/ 52 w 52"/>
                  <a:gd name="T15" fmla="*/ 34 h 40"/>
                  <a:gd name="T16" fmla="*/ 52 w 52"/>
                  <a:gd name="T17"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0">
                    <a:moveTo>
                      <a:pt x="52" y="6"/>
                    </a:moveTo>
                    <a:cubicBezTo>
                      <a:pt x="52" y="2"/>
                      <a:pt x="50" y="0"/>
                      <a:pt x="46" y="0"/>
                    </a:cubicBezTo>
                    <a:cubicBezTo>
                      <a:pt x="6" y="0"/>
                      <a:pt x="6" y="0"/>
                      <a:pt x="6" y="0"/>
                    </a:cubicBezTo>
                    <a:cubicBezTo>
                      <a:pt x="3" y="0"/>
                      <a:pt x="0" y="2"/>
                      <a:pt x="0" y="6"/>
                    </a:cubicBezTo>
                    <a:cubicBezTo>
                      <a:pt x="0" y="34"/>
                      <a:pt x="0" y="34"/>
                      <a:pt x="0" y="34"/>
                    </a:cubicBezTo>
                    <a:cubicBezTo>
                      <a:pt x="0" y="37"/>
                      <a:pt x="3" y="40"/>
                      <a:pt x="6" y="40"/>
                    </a:cubicBezTo>
                    <a:cubicBezTo>
                      <a:pt x="46" y="40"/>
                      <a:pt x="46" y="40"/>
                      <a:pt x="46" y="40"/>
                    </a:cubicBezTo>
                    <a:cubicBezTo>
                      <a:pt x="50" y="40"/>
                      <a:pt x="52" y="37"/>
                      <a:pt x="52" y="34"/>
                    </a:cubicBezTo>
                    <a:lnTo>
                      <a:pt x="52" y="6"/>
                    </a:lnTo>
                    <a:close/>
                  </a:path>
                </a:pathLst>
              </a:cu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85" name="Freeform 56"/>
              <p:cNvSpPr>
                <a:spLocks/>
              </p:cNvSpPr>
              <p:nvPr/>
            </p:nvSpPr>
            <p:spPr bwMode="ltGray">
              <a:xfrm>
                <a:off x="6573070" y="5804875"/>
                <a:ext cx="448290" cy="566049"/>
              </a:xfrm>
              <a:custGeom>
                <a:avLst/>
                <a:gdLst/>
                <a:ahLst/>
                <a:cxnLst/>
                <a:rect l="l" t="t" r="r" b="b"/>
                <a:pathLst>
                  <a:path w="1063625" h="1343025">
                    <a:moveTo>
                      <a:pt x="101600" y="103188"/>
                    </a:moveTo>
                    <a:cubicBezTo>
                      <a:pt x="101600" y="103188"/>
                      <a:pt x="101600" y="103188"/>
                      <a:pt x="101600" y="1241426"/>
                    </a:cubicBezTo>
                    <a:cubicBezTo>
                      <a:pt x="101600" y="1241426"/>
                      <a:pt x="101600" y="1241426"/>
                      <a:pt x="823148" y="1241426"/>
                    </a:cubicBezTo>
                    <a:cubicBezTo>
                      <a:pt x="850900" y="1120139"/>
                      <a:pt x="841649" y="989521"/>
                      <a:pt x="786146" y="868233"/>
                    </a:cubicBezTo>
                    <a:cubicBezTo>
                      <a:pt x="758394" y="802925"/>
                      <a:pt x="721391" y="746946"/>
                      <a:pt x="675138" y="681637"/>
                    </a:cubicBezTo>
                    <a:cubicBezTo>
                      <a:pt x="628885" y="616328"/>
                      <a:pt x="582632" y="541690"/>
                      <a:pt x="545630" y="457721"/>
                    </a:cubicBezTo>
                    <a:cubicBezTo>
                      <a:pt x="499377" y="345763"/>
                      <a:pt x="490126" y="224476"/>
                      <a:pt x="527128" y="103188"/>
                    </a:cubicBezTo>
                    <a:cubicBezTo>
                      <a:pt x="527128" y="103188"/>
                      <a:pt x="527128" y="103188"/>
                      <a:pt x="101600" y="103188"/>
                    </a:cubicBezTo>
                    <a:close/>
                    <a:moveTo>
                      <a:pt x="83240" y="0"/>
                    </a:moveTo>
                    <a:cubicBezTo>
                      <a:pt x="83240" y="0"/>
                      <a:pt x="83240" y="0"/>
                      <a:pt x="675171" y="0"/>
                    </a:cubicBezTo>
                    <a:cubicBezTo>
                      <a:pt x="675171" y="9066"/>
                      <a:pt x="675171" y="9319"/>
                      <a:pt x="675171" y="9327"/>
                    </a:cubicBezTo>
                    <a:cubicBezTo>
                      <a:pt x="675171" y="9327"/>
                      <a:pt x="675171" y="9327"/>
                      <a:pt x="1008131" y="9327"/>
                    </a:cubicBezTo>
                    <a:cubicBezTo>
                      <a:pt x="1035878" y="9327"/>
                      <a:pt x="1063625" y="27980"/>
                      <a:pt x="1063625" y="65286"/>
                    </a:cubicBezTo>
                    <a:cubicBezTo>
                      <a:pt x="1063625" y="65286"/>
                      <a:pt x="1063625" y="65286"/>
                      <a:pt x="1063625" y="326430"/>
                    </a:cubicBezTo>
                    <a:cubicBezTo>
                      <a:pt x="1063625" y="354410"/>
                      <a:pt x="1035878" y="382389"/>
                      <a:pt x="1008131" y="382389"/>
                    </a:cubicBezTo>
                    <a:lnTo>
                      <a:pt x="638175" y="382389"/>
                    </a:lnTo>
                    <a:cubicBezTo>
                      <a:pt x="638175" y="391716"/>
                      <a:pt x="647424" y="410369"/>
                      <a:pt x="647424" y="419695"/>
                    </a:cubicBezTo>
                    <a:cubicBezTo>
                      <a:pt x="656673" y="447675"/>
                      <a:pt x="665922" y="466328"/>
                      <a:pt x="684420" y="494308"/>
                    </a:cubicBezTo>
                    <a:cubicBezTo>
                      <a:pt x="684420" y="494308"/>
                      <a:pt x="684420" y="494308"/>
                      <a:pt x="1008131" y="494308"/>
                    </a:cubicBezTo>
                    <a:cubicBezTo>
                      <a:pt x="1035878" y="494308"/>
                      <a:pt x="1063625" y="512961"/>
                      <a:pt x="1063625" y="550267"/>
                    </a:cubicBezTo>
                    <a:cubicBezTo>
                      <a:pt x="1063625" y="550267"/>
                      <a:pt x="1063625" y="550267"/>
                      <a:pt x="1063625" y="811411"/>
                    </a:cubicBezTo>
                    <a:cubicBezTo>
                      <a:pt x="1063625" y="839391"/>
                      <a:pt x="1035878" y="867370"/>
                      <a:pt x="1008131" y="867370"/>
                    </a:cubicBezTo>
                    <a:cubicBezTo>
                      <a:pt x="1008131" y="867370"/>
                      <a:pt x="1008131" y="867370"/>
                      <a:pt x="897145" y="867370"/>
                    </a:cubicBezTo>
                    <a:cubicBezTo>
                      <a:pt x="915642" y="895350"/>
                      <a:pt x="924891" y="932656"/>
                      <a:pt x="934140" y="969963"/>
                    </a:cubicBezTo>
                    <a:cubicBezTo>
                      <a:pt x="934140" y="969963"/>
                      <a:pt x="934140" y="969963"/>
                      <a:pt x="1008131" y="969963"/>
                    </a:cubicBezTo>
                    <a:cubicBezTo>
                      <a:pt x="1035878" y="969963"/>
                      <a:pt x="1063625" y="988616"/>
                      <a:pt x="1063625" y="1025922"/>
                    </a:cubicBezTo>
                    <a:cubicBezTo>
                      <a:pt x="1063625" y="1025922"/>
                      <a:pt x="1063625" y="1025922"/>
                      <a:pt x="1063625" y="1287066"/>
                    </a:cubicBezTo>
                    <a:cubicBezTo>
                      <a:pt x="1063625" y="1315045"/>
                      <a:pt x="1035878" y="1343025"/>
                      <a:pt x="1008131" y="1343025"/>
                    </a:cubicBezTo>
                    <a:cubicBezTo>
                      <a:pt x="1008131" y="1343025"/>
                      <a:pt x="1008131" y="1343025"/>
                      <a:pt x="906393" y="1343025"/>
                    </a:cubicBezTo>
                    <a:cubicBezTo>
                      <a:pt x="906393" y="1343025"/>
                      <a:pt x="906393" y="1343025"/>
                      <a:pt x="83240" y="1343025"/>
                    </a:cubicBezTo>
                    <a:cubicBezTo>
                      <a:pt x="36996" y="1343025"/>
                      <a:pt x="0" y="1305719"/>
                      <a:pt x="0" y="1268413"/>
                    </a:cubicBezTo>
                    <a:cubicBezTo>
                      <a:pt x="0" y="1268413"/>
                      <a:pt x="0" y="1268413"/>
                      <a:pt x="0" y="83939"/>
                    </a:cubicBezTo>
                    <a:cubicBezTo>
                      <a:pt x="0" y="37306"/>
                      <a:pt x="36996" y="0"/>
                      <a:pt x="83240" y="0"/>
                    </a:cubicBezTo>
                    <a:close/>
                  </a:path>
                </a:pathLst>
              </a:cu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grpSp>
        <p:grpSp>
          <p:nvGrpSpPr>
            <p:cNvPr id="62" name="Group 61"/>
            <p:cNvGrpSpPr/>
            <p:nvPr/>
          </p:nvGrpSpPr>
          <p:grpSpPr bwMode="ltGray">
            <a:xfrm rot="174138">
              <a:off x="3387621" y="5429013"/>
              <a:ext cx="483765" cy="228604"/>
              <a:chOff x="6270931" y="4005523"/>
              <a:chExt cx="1068985" cy="505151"/>
            </a:xfrm>
            <a:solidFill>
              <a:srgbClr val="4F2170"/>
            </a:solidFill>
          </p:grpSpPr>
          <p:sp>
            <p:nvSpPr>
              <p:cNvPr id="73" name="Freeform 72"/>
              <p:cNvSpPr>
                <a:spLocks/>
              </p:cNvSpPr>
              <p:nvPr/>
            </p:nvSpPr>
            <p:spPr bwMode="ltGray">
              <a:xfrm>
                <a:off x="6270931" y="4096719"/>
                <a:ext cx="164947" cy="179222"/>
              </a:xfrm>
              <a:custGeom>
                <a:avLst/>
                <a:gdLst>
                  <a:gd name="T0" fmla="*/ 42 w 42"/>
                  <a:gd name="T1" fmla="*/ 44 h 45"/>
                  <a:gd name="T2" fmla="*/ 34 w 42"/>
                  <a:gd name="T3" fmla="*/ 41 h 45"/>
                  <a:gd name="T4" fmla="*/ 29 w 42"/>
                  <a:gd name="T5" fmla="*/ 30 h 45"/>
                  <a:gd name="T6" fmla="*/ 31 w 42"/>
                  <a:gd name="T7" fmla="*/ 20 h 45"/>
                  <a:gd name="T8" fmla="*/ 25 w 42"/>
                  <a:gd name="T9" fmla="*/ 6 h 45"/>
                  <a:gd name="T10" fmla="*/ 2 w 42"/>
                  <a:gd name="T11" fmla="*/ 17 h 45"/>
                  <a:gd name="T12" fmla="*/ 29 w 42"/>
                  <a:gd name="T13" fmla="*/ 45 h 45"/>
                  <a:gd name="T14" fmla="*/ 42 w 42"/>
                  <a:gd name="T15" fmla="*/ 44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5">
                    <a:moveTo>
                      <a:pt x="42" y="44"/>
                    </a:moveTo>
                    <a:cubicBezTo>
                      <a:pt x="39" y="44"/>
                      <a:pt x="36" y="42"/>
                      <a:pt x="34" y="41"/>
                    </a:cubicBezTo>
                    <a:cubicBezTo>
                      <a:pt x="31" y="38"/>
                      <a:pt x="29" y="35"/>
                      <a:pt x="29" y="30"/>
                    </a:cubicBezTo>
                    <a:cubicBezTo>
                      <a:pt x="30" y="27"/>
                      <a:pt x="31" y="24"/>
                      <a:pt x="31" y="20"/>
                    </a:cubicBezTo>
                    <a:cubicBezTo>
                      <a:pt x="32" y="15"/>
                      <a:pt x="30" y="9"/>
                      <a:pt x="25" y="6"/>
                    </a:cubicBezTo>
                    <a:cubicBezTo>
                      <a:pt x="16" y="0"/>
                      <a:pt x="4" y="6"/>
                      <a:pt x="2" y="17"/>
                    </a:cubicBezTo>
                    <a:cubicBezTo>
                      <a:pt x="0" y="32"/>
                      <a:pt x="16" y="44"/>
                      <a:pt x="29" y="45"/>
                    </a:cubicBezTo>
                    <a:cubicBezTo>
                      <a:pt x="33" y="45"/>
                      <a:pt x="37" y="45"/>
                      <a:pt x="42" y="44"/>
                    </a:cubicBezTo>
                  </a:path>
                </a:pathLst>
              </a:cu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74" name="Freeform 73"/>
              <p:cNvSpPr>
                <a:spLocks/>
              </p:cNvSpPr>
              <p:nvPr/>
            </p:nvSpPr>
            <p:spPr bwMode="ltGray">
              <a:xfrm>
                <a:off x="6270931" y="4264046"/>
                <a:ext cx="164947" cy="179222"/>
              </a:xfrm>
              <a:custGeom>
                <a:avLst/>
                <a:gdLst>
                  <a:gd name="T0" fmla="*/ 42 w 42"/>
                  <a:gd name="T1" fmla="*/ 1 h 45"/>
                  <a:gd name="T2" fmla="*/ 34 w 42"/>
                  <a:gd name="T3" fmla="*/ 4 h 45"/>
                  <a:gd name="T4" fmla="*/ 29 w 42"/>
                  <a:gd name="T5" fmla="*/ 15 h 45"/>
                  <a:gd name="T6" fmla="*/ 31 w 42"/>
                  <a:gd name="T7" fmla="*/ 25 h 45"/>
                  <a:gd name="T8" fmla="*/ 25 w 42"/>
                  <a:gd name="T9" fmla="*/ 39 h 45"/>
                  <a:gd name="T10" fmla="*/ 2 w 42"/>
                  <a:gd name="T11" fmla="*/ 28 h 45"/>
                  <a:gd name="T12" fmla="*/ 29 w 42"/>
                  <a:gd name="T13" fmla="*/ 0 h 45"/>
                  <a:gd name="T14" fmla="*/ 42 w 42"/>
                  <a:gd name="T15" fmla="*/ 1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5">
                    <a:moveTo>
                      <a:pt x="42" y="1"/>
                    </a:moveTo>
                    <a:cubicBezTo>
                      <a:pt x="39" y="1"/>
                      <a:pt x="36" y="3"/>
                      <a:pt x="34" y="4"/>
                    </a:cubicBezTo>
                    <a:cubicBezTo>
                      <a:pt x="31" y="7"/>
                      <a:pt x="29" y="11"/>
                      <a:pt x="29" y="15"/>
                    </a:cubicBezTo>
                    <a:cubicBezTo>
                      <a:pt x="29" y="18"/>
                      <a:pt x="31" y="21"/>
                      <a:pt x="31" y="25"/>
                    </a:cubicBezTo>
                    <a:cubicBezTo>
                      <a:pt x="32" y="30"/>
                      <a:pt x="30" y="36"/>
                      <a:pt x="25" y="39"/>
                    </a:cubicBezTo>
                    <a:cubicBezTo>
                      <a:pt x="16" y="45"/>
                      <a:pt x="3" y="39"/>
                      <a:pt x="2" y="28"/>
                    </a:cubicBezTo>
                    <a:cubicBezTo>
                      <a:pt x="0" y="13"/>
                      <a:pt x="16" y="1"/>
                      <a:pt x="29" y="0"/>
                    </a:cubicBezTo>
                    <a:cubicBezTo>
                      <a:pt x="33" y="0"/>
                      <a:pt x="37" y="0"/>
                      <a:pt x="42" y="1"/>
                    </a:cubicBezTo>
                  </a:path>
                </a:pathLst>
              </a:cu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75" name="Freeform 74"/>
              <p:cNvSpPr>
                <a:spLocks/>
              </p:cNvSpPr>
              <p:nvPr/>
            </p:nvSpPr>
            <p:spPr bwMode="ltGray">
              <a:xfrm>
                <a:off x="7174969" y="4092754"/>
                <a:ext cx="164947" cy="179222"/>
              </a:xfrm>
              <a:custGeom>
                <a:avLst/>
                <a:gdLst>
                  <a:gd name="T0" fmla="*/ 0 w 42"/>
                  <a:gd name="T1" fmla="*/ 44 h 45"/>
                  <a:gd name="T2" fmla="*/ 7 w 42"/>
                  <a:gd name="T3" fmla="*/ 41 h 45"/>
                  <a:gd name="T4" fmla="*/ 12 w 42"/>
                  <a:gd name="T5" fmla="*/ 30 h 45"/>
                  <a:gd name="T6" fmla="*/ 10 w 42"/>
                  <a:gd name="T7" fmla="*/ 20 h 45"/>
                  <a:gd name="T8" fmla="*/ 16 w 42"/>
                  <a:gd name="T9" fmla="*/ 6 h 45"/>
                  <a:gd name="T10" fmla="*/ 39 w 42"/>
                  <a:gd name="T11" fmla="*/ 17 h 45"/>
                  <a:gd name="T12" fmla="*/ 12 w 42"/>
                  <a:gd name="T13" fmla="*/ 44 h 45"/>
                  <a:gd name="T14" fmla="*/ 0 w 42"/>
                  <a:gd name="T15" fmla="*/ 44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5">
                    <a:moveTo>
                      <a:pt x="0" y="44"/>
                    </a:moveTo>
                    <a:cubicBezTo>
                      <a:pt x="2" y="44"/>
                      <a:pt x="5" y="42"/>
                      <a:pt x="7" y="41"/>
                    </a:cubicBezTo>
                    <a:cubicBezTo>
                      <a:pt x="10" y="38"/>
                      <a:pt x="12" y="35"/>
                      <a:pt x="12" y="30"/>
                    </a:cubicBezTo>
                    <a:cubicBezTo>
                      <a:pt x="12" y="27"/>
                      <a:pt x="10" y="24"/>
                      <a:pt x="10" y="20"/>
                    </a:cubicBezTo>
                    <a:cubicBezTo>
                      <a:pt x="10" y="15"/>
                      <a:pt x="12" y="9"/>
                      <a:pt x="16" y="6"/>
                    </a:cubicBezTo>
                    <a:cubicBezTo>
                      <a:pt x="26" y="0"/>
                      <a:pt x="38" y="6"/>
                      <a:pt x="39" y="17"/>
                    </a:cubicBezTo>
                    <a:cubicBezTo>
                      <a:pt x="42" y="32"/>
                      <a:pt x="26" y="44"/>
                      <a:pt x="12" y="44"/>
                    </a:cubicBezTo>
                    <a:cubicBezTo>
                      <a:pt x="8" y="45"/>
                      <a:pt x="4" y="44"/>
                      <a:pt x="0" y="44"/>
                    </a:cubicBezTo>
                  </a:path>
                </a:pathLst>
              </a:cu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76" name="Freeform 75"/>
              <p:cNvSpPr>
                <a:spLocks/>
              </p:cNvSpPr>
              <p:nvPr/>
            </p:nvSpPr>
            <p:spPr bwMode="ltGray">
              <a:xfrm>
                <a:off x="7174969" y="4260080"/>
                <a:ext cx="164947" cy="179222"/>
              </a:xfrm>
              <a:custGeom>
                <a:avLst/>
                <a:gdLst>
                  <a:gd name="T0" fmla="*/ 0 w 42"/>
                  <a:gd name="T1" fmla="*/ 1 h 45"/>
                  <a:gd name="T2" fmla="*/ 7 w 42"/>
                  <a:gd name="T3" fmla="*/ 4 h 45"/>
                  <a:gd name="T4" fmla="*/ 12 w 42"/>
                  <a:gd name="T5" fmla="*/ 15 h 45"/>
                  <a:gd name="T6" fmla="*/ 10 w 42"/>
                  <a:gd name="T7" fmla="*/ 25 h 45"/>
                  <a:gd name="T8" fmla="*/ 16 w 42"/>
                  <a:gd name="T9" fmla="*/ 39 h 45"/>
                  <a:gd name="T10" fmla="*/ 39 w 42"/>
                  <a:gd name="T11" fmla="*/ 28 h 45"/>
                  <a:gd name="T12" fmla="*/ 12 w 42"/>
                  <a:gd name="T13" fmla="*/ 0 h 45"/>
                  <a:gd name="T14" fmla="*/ 0 w 42"/>
                  <a:gd name="T15" fmla="*/ 1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5">
                    <a:moveTo>
                      <a:pt x="0" y="1"/>
                    </a:moveTo>
                    <a:cubicBezTo>
                      <a:pt x="2" y="1"/>
                      <a:pt x="5" y="3"/>
                      <a:pt x="7" y="4"/>
                    </a:cubicBezTo>
                    <a:cubicBezTo>
                      <a:pt x="10" y="7"/>
                      <a:pt x="12" y="10"/>
                      <a:pt x="12" y="15"/>
                    </a:cubicBezTo>
                    <a:cubicBezTo>
                      <a:pt x="12" y="18"/>
                      <a:pt x="10" y="21"/>
                      <a:pt x="10" y="25"/>
                    </a:cubicBezTo>
                    <a:cubicBezTo>
                      <a:pt x="9" y="30"/>
                      <a:pt x="11" y="36"/>
                      <a:pt x="16" y="39"/>
                    </a:cubicBezTo>
                    <a:cubicBezTo>
                      <a:pt x="25" y="45"/>
                      <a:pt x="38" y="39"/>
                      <a:pt x="39" y="28"/>
                    </a:cubicBezTo>
                    <a:cubicBezTo>
                      <a:pt x="42" y="13"/>
                      <a:pt x="26" y="1"/>
                      <a:pt x="12" y="0"/>
                    </a:cubicBezTo>
                    <a:cubicBezTo>
                      <a:pt x="8" y="0"/>
                      <a:pt x="4" y="0"/>
                      <a:pt x="0" y="1"/>
                    </a:cubicBezTo>
                  </a:path>
                </a:pathLst>
              </a:cu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77" name="Freeform 76"/>
              <p:cNvSpPr>
                <a:spLocks/>
              </p:cNvSpPr>
              <p:nvPr/>
            </p:nvSpPr>
            <p:spPr bwMode="ltGray">
              <a:xfrm>
                <a:off x="6439843" y="4005523"/>
                <a:ext cx="616966" cy="246628"/>
              </a:xfrm>
              <a:custGeom>
                <a:avLst/>
                <a:gdLst>
                  <a:gd name="T0" fmla="*/ 45 w 157"/>
                  <a:gd name="T1" fmla="*/ 56 h 62"/>
                  <a:gd name="T2" fmla="*/ 67 w 157"/>
                  <a:gd name="T3" fmla="*/ 42 h 62"/>
                  <a:gd name="T4" fmla="*/ 89 w 157"/>
                  <a:gd name="T5" fmla="*/ 28 h 62"/>
                  <a:gd name="T6" fmla="*/ 129 w 157"/>
                  <a:gd name="T7" fmla="*/ 18 h 62"/>
                  <a:gd name="T8" fmla="*/ 157 w 157"/>
                  <a:gd name="T9" fmla="*/ 23 h 62"/>
                  <a:gd name="T10" fmla="*/ 93 w 157"/>
                  <a:gd name="T11" fmla="*/ 0 h 62"/>
                  <a:gd name="T12" fmla="*/ 0 w 157"/>
                  <a:gd name="T13" fmla="*/ 56 h 62"/>
                  <a:gd name="T14" fmla="*/ 45 w 157"/>
                  <a:gd name="T15" fmla="*/ 56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2">
                    <a:moveTo>
                      <a:pt x="45" y="56"/>
                    </a:moveTo>
                    <a:cubicBezTo>
                      <a:pt x="53" y="52"/>
                      <a:pt x="60" y="47"/>
                      <a:pt x="67" y="42"/>
                    </a:cubicBezTo>
                    <a:cubicBezTo>
                      <a:pt x="74" y="37"/>
                      <a:pt x="81" y="31"/>
                      <a:pt x="89" y="28"/>
                    </a:cubicBezTo>
                    <a:cubicBezTo>
                      <a:pt x="102" y="21"/>
                      <a:pt x="116" y="18"/>
                      <a:pt x="129" y="18"/>
                    </a:cubicBezTo>
                    <a:cubicBezTo>
                      <a:pt x="139" y="18"/>
                      <a:pt x="148" y="20"/>
                      <a:pt x="157" y="23"/>
                    </a:cubicBezTo>
                    <a:cubicBezTo>
                      <a:pt x="142" y="11"/>
                      <a:pt x="120" y="0"/>
                      <a:pt x="93" y="0"/>
                    </a:cubicBezTo>
                    <a:cubicBezTo>
                      <a:pt x="38" y="0"/>
                      <a:pt x="8" y="41"/>
                      <a:pt x="0" y="56"/>
                    </a:cubicBezTo>
                    <a:cubicBezTo>
                      <a:pt x="14" y="62"/>
                      <a:pt x="31" y="62"/>
                      <a:pt x="45" y="56"/>
                    </a:cubicBezTo>
                    <a:close/>
                  </a:path>
                </a:pathLst>
              </a:cu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78" name="Freeform 77"/>
              <p:cNvSpPr>
                <a:spLocks/>
              </p:cNvSpPr>
              <p:nvPr/>
            </p:nvSpPr>
            <p:spPr bwMode="ltGray">
              <a:xfrm>
                <a:off x="6427948" y="4116545"/>
                <a:ext cx="754951" cy="394129"/>
              </a:xfrm>
              <a:custGeom>
                <a:avLst/>
                <a:gdLst>
                  <a:gd name="T0" fmla="*/ 171 w 192"/>
                  <a:gd name="T1" fmla="*/ 12 h 99"/>
                  <a:gd name="T2" fmla="*/ 132 w 192"/>
                  <a:gd name="T3" fmla="*/ 0 h 99"/>
                  <a:gd name="T4" fmla="*/ 95 w 192"/>
                  <a:gd name="T5" fmla="*/ 9 h 99"/>
                  <a:gd name="T6" fmla="*/ 74 w 192"/>
                  <a:gd name="T7" fmla="*/ 23 h 99"/>
                  <a:gd name="T8" fmla="*/ 50 w 192"/>
                  <a:gd name="T9" fmla="*/ 37 h 99"/>
                  <a:gd name="T10" fmla="*/ 0 w 192"/>
                  <a:gd name="T11" fmla="*/ 38 h 99"/>
                  <a:gd name="T12" fmla="*/ 96 w 192"/>
                  <a:gd name="T13" fmla="*/ 99 h 99"/>
                  <a:gd name="T14" fmla="*/ 192 w 192"/>
                  <a:gd name="T15" fmla="*/ 37 h 99"/>
                  <a:gd name="T16" fmla="*/ 180 w 192"/>
                  <a:gd name="T17" fmla="*/ 20 h 99"/>
                  <a:gd name="T18" fmla="*/ 171 w 192"/>
                  <a:gd name="T19" fmla="*/ 1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99">
                    <a:moveTo>
                      <a:pt x="171" y="12"/>
                    </a:moveTo>
                    <a:cubicBezTo>
                      <a:pt x="160" y="4"/>
                      <a:pt x="147" y="0"/>
                      <a:pt x="132" y="0"/>
                    </a:cubicBezTo>
                    <a:cubicBezTo>
                      <a:pt x="119" y="0"/>
                      <a:pt x="107" y="3"/>
                      <a:pt x="95" y="9"/>
                    </a:cubicBezTo>
                    <a:cubicBezTo>
                      <a:pt x="87" y="13"/>
                      <a:pt x="80" y="18"/>
                      <a:pt x="74" y="23"/>
                    </a:cubicBezTo>
                    <a:cubicBezTo>
                      <a:pt x="66" y="28"/>
                      <a:pt x="59" y="33"/>
                      <a:pt x="50" y="37"/>
                    </a:cubicBezTo>
                    <a:cubicBezTo>
                      <a:pt x="35" y="44"/>
                      <a:pt x="16" y="44"/>
                      <a:pt x="0" y="38"/>
                    </a:cubicBezTo>
                    <a:cubicBezTo>
                      <a:pt x="0" y="39"/>
                      <a:pt x="30" y="99"/>
                      <a:pt x="96" y="99"/>
                    </a:cubicBezTo>
                    <a:cubicBezTo>
                      <a:pt x="162" y="99"/>
                      <a:pt x="192" y="37"/>
                      <a:pt x="192" y="37"/>
                    </a:cubicBezTo>
                    <a:cubicBezTo>
                      <a:pt x="192" y="37"/>
                      <a:pt x="188" y="30"/>
                      <a:pt x="180" y="20"/>
                    </a:cubicBezTo>
                    <a:cubicBezTo>
                      <a:pt x="178" y="17"/>
                      <a:pt x="175" y="15"/>
                      <a:pt x="171" y="12"/>
                    </a:cubicBezTo>
                    <a:close/>
                  </a:path>
                </a:pathLst>
              </a:cu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grpSp>
        <p:sp>
          <p:nvSpPr>
            <p:cNvPr id="63" name="Freeform 210"/>
            <p:cNvSpPr>
              <a:spLocks/>
            </p:cNvSpPr>
            <p:nvPr/>
          </p:nvSpPr>
          <p:spPr bwMode="ltGray">
            <a:xfrm rot="21361732" flipH="1">
              <a:off x="3817153" y="5586590"/>
              <a:ext cx="325863" cy="227850"/>
            </a:xfrm>
            <a:custGeom>
              <a:avLst/>
              <a:gdLst>
                <a:gd name="T0" fmla="*/ 325863 w 215"/>
                <a:gd name="T1" fmla="*/ 103985 h 149"/>
                <a:gd name="T2" fmla="*/ 281909 w 215"/>
                <a:gd name="T3" fmla="*/ 120806 h 149"/>
                <a:gd name="T4" fmla="*/ 216737 w 215"/>
                <a:gd name="T5" fmla="*/ 96339 h 149"/>
                <a:gd name="T6" fmla="*/ 183393 w 215"/>
                <a:gd name="T7" fmla="*/ 42817 h 149"/>
                <a:gd name="T8" fmla="*/ 97001 w 215"/>
                <a:gd name="T9" fmla="*/ 6117 h 149"/>
                <a:gd name="T10" fmla="*/ 37891 w 215"/>
                <a:gd name="T11" fmla="*/ 149861 h 149"/>
                <a:gd name="T12" fmla="*/ 274331 w 215"/>
                <a:gd name="T13" fmla="*/ 160565 h 149"/>
                <a:gd name="T14" fmla="*/ 325863 w 215"/>
                <a:gd name="T15" fmla="*/ 103985 h 14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5" h="149">
                  <a:moveTo>
                    <a:pt x="215" y="68"/>
                  </a:moveTo>
                  <a:cubicBezTo>
                    <a:pt x="206" y="75"/>
                    <a:pt x="194" y="78"/>
                    <a:pt x="186" y="79"/>
                  </a:cubicBezTo>
                  <a:cubicBezTo>
                    <a:pt x="170" y="81"/>
                    <a:pt x="153" y="76"/>
                    <a:pt x="143" y="63"/>
                  </a:cubicBezTo>
                  <a:cubicBezTo>
                    <a:pt x="134" y="52"/>
                    <a:pt x="129" y="39"/>
                    <a:pt x="121" y="28"/>
                  </a:cubicBezTo>
                  <a:cubicBezTo>
                    <a:pt x="107" y="11"/>
                    <a:pt x="86" y="0"/>
                    <a:pt x="64" y="4"/>
                  </a:cubicBezTo>
                  <a:cubicBezTo>
                    <a:pt x="20" y="12"/>
                    <a:pt x="0" y="63"/>
                    <a:pt x="25" y="98"/>
                  </a:cubicBezTo>
                  <a:cubicBezTo>
                    <a:pt x="60" y="149"/>
                    <a:pt x="140" y="140"/>
                    <a:pt x="181" y="105"/>
                  </a:cubicBezTo>
                  <a:cubicBezTo>
                    <a:pt x="193" y="94"/>
                    <a:pt x="205" y="82"/>
                    <a:pt x="215" y="68"/>
                  </a:cubicBezTo>
                </a:path>
              </a:pathLst>
            </a:custGeom>
            <a:solidFill>
              <a:srgbClr val="F358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 name="Freeform 210"/>
            <p:cNvSpPr>
              <a:spLocks/>
            </p:cNvSpPr>
            <p:nvPr/>
          </p:nvSpPr>
          <p:spPr bwMode="ltGray">
            <a:xfrm rot="11467442" flipH="1">
              <a:off x="3861395" y="5225505"/>
              <a:ext cx="444411" cy="311114"/>
            </a:xfrm>
            <a:custGeom>
              <a:avLst/>
              <a:gdLst>
                <a:gd name="T0" fmla="*/ 215 w 215"/>
                <a:gd name="T1" fmla="*/ 68 h 149"/>
                <a:gd name="T2" fmla="*/ 186 w 215"/>
                <a:gd name="T3" fmla="*/ 79 h 149"/>
                <a:gd name="T4" fmla="*/ 143 w 215"/>
                <a:gd name="T5" fmla="*/ 63 h 149"/>
                <a:gd name="T6" fmla="*/ 121 w 215"/>
                <a:gd name="T7" fmla="*/ 28 h 149"/>
                <a:gd name="T8" fmla="*/ 64 w 215"/>
                <a:gd name="T9" fmla="*/ 4 h 149"/>
                <a:gd name="T10" fmla="*/ 25 w 215"/>
                <a:gd name="T11" fmla="*/ 98 h 149"/>
                <a:gd name="T12" fmla="*/ 181 w 215"/>
                <a:gd name="T13" fmla="*/ 105 h 149"/>
                <a:gd name="T14" fmla="*/ 215 w 215"/>
                <a:gd name="T15" fmla="*/ 68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149">
                  <a:moveTo>
                    <a:pt x="215" y="68"/>
                  </a:moveTo>
                  <a:cubicBezTo>
                    <a:pt x="206" y="75"/>
                    <a:pt x="194" y="78"/>
                    <a:pt x="186" y="79"/>
                  </a:cubicBezTo>
                  <a:cubicBezTo>
                    <a:pt x="170" y="81"/>
                    <a:pt x="153" y="76"/>
                    <a:pt x="143" y="63"/>
                  </a:cubicBezTo>
                  <a:cubicBezTo>
                    <a:pt x="134" y="52"/>
                    <a:pt x="129" y="39"/>
                    <a:pt x="121" y="28"/>
                  </a:cubicBezTo>
                  <a:cubicBezTo>
                    <a:pt x="107" y="11"/>
                    <a:pt x="86" y="0"/>
                    <a:pt x="64" y="4"/>
                  </a:cubicBezTo>
                  <a:cubicBezTo>
                    <a:pt x="20" y="12"/>
                    <a:pt x="0" y="63"/>
                    <a:pt x="25" y="98"/>
                  </a:cubicBezTo>
                  <a:cubicBezTo>
                    <a:pt x="60" y="149"/>
                    <a:pt x="140" y="140"/>
                    <a:pt x="181" y="105"/>
                  </a:cubicBezTo>
                  <a:cubicBezTo>
                    <a:pt x="193" y="94"/>
                    <a:pt x="205" y="82"/>
                    <a:pt x="215" y="68"/>
                  </a:cubicBezTo>
                </a:path>
              </a:pathLst>
            </a:custGeom>
            <a:solidFill>
              <a:srgbClr val="BAC405"/>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65" name="Freeform 210"/>
            <p:cNvSpPr>
              <a:spLocks/>
            </p:cNvSpPr>
            <p:nvPr/>
          </p:nvSpPr>
          <p:spPr bwMode="ltGray">
            <a:xfrm rot="15999528" flipH="1" flipV="1">
              <a:off x="4628786" y="5304086"/>
              <a:ext cx="282543" cy="198398"/>
            </a:xfrm>
            <a:custGeom>
              <a:avLst/>
              <a:gdLst>
                <a:gd name="T0" fmla="*/ 215 w 215"/>
                <a:gd name="T1" fmla="*/ 68 h 149"/>
                <a:gd name="T2" fmla="*/ 186 w 215"/>
                <a:gd name="T3" fmla="*/ 79 h 149"/>
                <a:gd name="T4" fmla="*/ 143 w 215"/>
                <a:gd name="T5" fmla="*/ 63 h 149"/>
                <a:gd name="T6" fmla="*/ 121 w 215"/>
                <a:gd name="T7" fmla="*/ 28 h 149"/>
                <a:gd name="T8" fmla="*/ 64 w 215"/>
                <a:gd name="T9" fmla="*/ 4 h 149"/>
                <a:gd name="T10" fmla="*/ 25 w 215"/>
                <a:gd name="T11" fmla="*/ 98 h 149"/>
                <a:gd name="T12" fmla="*/ 181 w 215"/>
                <a:gd name="T13" fmla="*/ 105 h 149"/>
                <a:gd name="T14" fmla="*/ 215 w 215"/>
                <a:gd name="T15" fmla="*/ 68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149">
                  <a:moveTo>
                    <a:pt x="215" y="68"/>
                  </a:moveTo>
                  <a:cubicBezTo>
                    <a:pt x="206" y="75"/>
                    <a:pt x="194" y="78"/>
                    <a:pt x="186" y="79"/>
                  </a:cubicBezTo>
                  <a:cubicBezTo>
                    <a:pt x="170" y="81"/>
                    <a:pt x="153" y="76"/>
                    <a:pt x="143" y="63"/>
                  </a:cubicBezTo>
                  <a:cubicBezTo>
                    <a:pt x="134" y="52"/>
                    <a:pt x="129" y="39"/>
                    <a:pt x="121" y="28"/>
                  </a:cubicBezTo>
                  <a:cubicBezTo>
                    <a:pt x="107" y="11"/>
                    <a:pt x="86" y="0"/>
                    <a:pt x="64" y="4"/>
                  </a:cubicBezTo>
                  <a:cubicBezTo>
                    <a:pt x="20" y="12"/>
                    <a:pt x="0" y="63"/>
                    <a:pt x="25" y="98"/>
                  </a:cubicBezTo>
                  <a:cubicBezTo>
                    <a:pt x="60" y="149"/>
                    <a:pt x="140" y="140"/>
                    <a:pt x="181" y="105"/>
                  </a:cubicBezTo>
                  <a:cubicBezTo>
                    <a:pt x="193" y="94"/>
                    <a:pt x="205" y="82"/>
                    <a:pt x="215" y="68"/>
                  </a:cubicBezTo>
                </a:path>
              </a:pathLst>
            </a:custGeom>
            <a:solidFill>
              <a:srgbClr val="00B7C6"/>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66" name="Freeform 39"/>
            <p:cNvSpPr>
              <a:spLocks/>
            </p:cNvSpPr>
            <p:nvPr/>
          </p:nvSpPr>
          <p:spPr bwMode="ltGray">
            <a:xfrm>
              <a:off x="4820054" y="4896930"/>
              <a:ext cx="303153" cy="438100"/>
            </a:xfrm>
            <a:custGeom>
              <a:avLst/>
              <a:gdLst/>
              <a:ahLst/>
              <a:cxnLst/>
              <a:rect l="l" t="t" r="r" b="b"/>
              <a:pathLst>
                <a:path w="554038" h="801688">
                  <a:moveTo>
                    <a:pt x="233363" y="242888"/>
                  </a:moveTo>
                  <a:cubicBezTo>
                    <a:pt x="233363" y="242888"/>
                    <a:pt x="233363" y="242888"/>
                    <a:pt x="260097" y="455613"/>
                  </a:cubicBezTo>
                  <a:cubicBezTo>
                    <a:pt x="260097" y="451822"/>
                    <a:pt x="263901" y="451815"/>
                    <a:pt x="263917" y="451815"/>
                  </a:cubicBezTo>
                  <a:cubicBezTo>
                    <a:pt x="279193" y="444217"/>
                    <a:pt x="290651" y="432821"/>
                    <a:pt x="302109" y="417627"/>
                  </a:cubicBezTo>
                  <a:cubicBezTo>
                    <a:pt x="313566" y="406231"/>
                    <a:pt x="325024" y="394835"/>
                    <a:pt x="336481" y="387237"/>
                  </a:cubicBezTo>
                  <a:cubicBezTo>
                    <a:pt x="367035" y="364445"/>
                    <a:pt x="401408" y="353049"/>
                    <a:pt x="431962" y="353049"/>
                  </a:cubicBezTo>
                  <a:lnTo>
                    <a:pt x="477792" y="360647"/>
                  </a:lnTo>
                  <a:cubicBezTo>
                    <a:pt x="477792" y="360647"/>
                    <a:pt x="477792" y="360647"/>
                    <a:pt x="496888" y="242888"/>
                  </a:cubicBezTo>
                  <a:cubicBezTo>
                    <a:pt x="496888" y="242888"/>
                    <a:pt x="496888" y="242888"/>
                    <a:pt x="233363" y="242888"/>
                  </a:cubicBezTo>
                  <a:close/>
                  <a:moveTo>
                    <a:pt x="133350" y="242888"/>
                  </a:moveTo>
                  <a:cubicBezTo>
                    <a:pt x="133352" y="242902"/>
                    <a:pt x="133628" y="244628"/>
                    <a:pt x="168137" y="460672"/>
                  </a:cubicBezTo>
                  <a:cubicBezTo>
                    <a:pt x="179733" y="468313"/>
                    <a:pt x="195193" y="468313"/>
                    <a:pt x="206789" y="468313"/>
                  </a:cubicBezTo>
                  <a:cubicBezTo>
                    <a:pt x="214520" y="468313"/>
                    <a:pt x="218385" y="468313"/>
                    <a:pt x="222250" y="468313"/>
                  </a:cubicBezTo>
                  <a:cubicBezTo>
                    <a:pt x="222248" y="468299"/>
                    <a:pt x="222035" y="466525"/>
                    <a:pt x="195193" y="242888"/>
                  </a:cubicBezTo>
                  <a:cubicBezTo>
                    <a:pt x="195181" y="242888"/>
                    <a:pt x="194319" y="242888"/>
                    <a:pt x="133350" y="242888"/>
                  </a:cubicBezTo>
                  <a:close/>
                  <a:moveTo>
                    <a:pt x="11113" y="0"/>
                  </a:moveTo>
                  <a:lnTo>
                    <a:pt x="211138" y="73025"/>
                  </a:lnTo>
                  <a:lnTo>
                    <a:pt x="225425" y="193675"/>
                  </a:lnTo>
                  <a:lnTo>
                    <a:pt x="554038" y="193675"/>
                  </a:lnTo>
                  <a:lnTo>
                    <a:pt x="466725" y="801688"/>
                  </a:lnTo>
                  <a:lnTo>
                    <a:pt x="168275" y="801688"/>
                  </a:lnTo>
                  <a:lnTo>
                    <a:pt x="76200" y="193675"/>
                  </a:lnTo>
                  <a:lnTo>
                    <a:pt x="187325" y="193675"/>
                  </a:lnTo>
                  <a:lnTo>
                    <a:pt x="176213" y="98425"/>
                  </a:lnTo>
                  <a:lnTo>
                    <a:pt x="0" y="34925"/>
                  </a:lnTo>
                  <a:close/>
                </a:path>
              </a:pathLst>
            </a:custGeom>
            <a:solidFill>
              <a:srgbClr val="BAC405"/>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67" name="Freeform 210"/>
            <p:cNvSpPr>
              <a:spLocks/>
            </p:cNvSpPr>
            <p:nvPr/>
          </p:nvSpPr>
          <p:spPr bwMode="ltGray">
            <a:xfrm rot="16842304" flipH="1">
              <a:off x="5367607" y="5741401"/>
              <a:ext cx="612705" cy="428540"/>
            </a:xfrm>
            <a:custGeom>
              <a:avLst/>
              <a:gdLst>
                <a:gd name="T0" fmla="*/ 215 w 215"/>
                <a:gd name="T1" fmla="*/ 68 h 149"/>
                <a:gd name="T2" fmla="*/ 186 w 215"/>
                <a:gd name="T3" fmla="*/ 79 h 149"/>
                <a:gd name="T4" fmla="*/ 143 w 215"/>
                <a:gd name="T5" fmla="*/ 63 h 149"/>
                <a:gd name="T6" fmla="*/ 121 w 215"/>
                <a:gd name="T7" fmla="*/ 28 h 149"/>
                <a:gd name="T8" fmla="*/ 64 w 215"/>
                <a:gd name="T9" fmla="*/ 4 h 149"/>
                <a:gd name="T10" fmla="*/ 25 w 215"/>
                <a:gd name="T11" fmla="*/ 98 h 149"/>
                <a:gd name="T12" fmla="*/ 181 w 215"/>
                <a:gd name="T13" fmla="*/ 105 h 149"/>
                <a:gd name="T14" fmla="*/ 215 w 215"/>
                <a:gd name="T15" fmla="*/ 68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149">
                  <a:moveTo>
                    <a:pt x="215" y="68"/>
                  </a:moveTo>
                  <a:cubicBezTo>
                    <a:pt x="206" y="75"/>
                    <a:pt x="194" y="78"/>
                    <a:pt x="186" y="79"/>
                  </a:cubicBezTo>
                  <a:cubicBezTo>
                    <a:pt x="170" y="81"/>
                    <a:pt x="153" y="76"/>
                    <a:pt x="143" y="63"/>
                  </a:cubicBezTo>
                  <a:cubicBezTo>
                    <a:pt x="134" y="52"/>
                    <a:pt x="129" y="39"/>
                    <a:pt x="121" y="28"/>
                  </a:cubicBezTo>
                  <a:cubicBezTo>
                    <a:pt x="107" y="11"/>
                    <a:pt x="86" y="0"/>
                    <a:pt x="64" y="4"/>
                  </a:cubicBezTo>
                  <a:cubicBezTo>
                    <a:pt x="20" y="12"/>
                    <a:pt x="0" y="63"/>
                    <a:pt x="25" y="98"/>
                  </a:cubicBezTo>
                  <a:cubicBezTo>
                    <a:pt x="60" y="149"/>
                    <a:pt x="140" y="140"/>
                    <a:pt x="181" y="105"/>
                  </a:cubicBezTo>
                  <a:cubicBezTo>
                    <a:pt x="193" y="94"/>
                    <a:pt x="205" y="82"/>
                    <a:pt x="215" y="68"/>
                  </a:cubicBezTo>
                </a:path>
              </a:pathLst>
            </a:custGeom>
            <a:solidFill>
              <a:srgbClr val="0036A3"/>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68" name="Freeform 210"/>
            <p:cNvSpPr>
              <a:spLocks/>
            </p:cNvSpPr>
            <p:nvPr/>
          </p:nvSpPr>
          <p:spPr bwMode="ltGray">
            <a:xfrm rot="13344697" flipH="1">
              <a:off x="6091389" y="5376300"/>
              <a:ext cx="677727" cy="473021"/>
            </a:xfrm>
            <a:custGeom>
              <a:avLst/>
              <a:gdLst>
                <a:gd name="T0" fmla="*/ 215 w 215"/>
                <a:gd name="T1" fmla="*/ 68 h 149"/>
                <a:gd name="T2" fmla="*/ 186 w 215"/>
                <a:gd name="T3" fmla="*/ 79 h 149"/>
                <a:gd name="T4" fmla="*/ 143 w 215"/>
                <a:gd name="T5" fmla="*/ 63 h 149"/>
                <a:gd name="T6" fmla="*/ 121 w 215"/>
                <a:gd name="T7" fmla="*/ 28 h 149"/>
                <a:gd name="T8" fmla="*/ 64 w 215"/>
                <a:gd name="T9" fmla="*/ 4 h 149"/>
                <a:gd name="T10" fmla="*/ 25 w 215"/>
                <a:gd name="T11" fmla="*/ 98 h 149"/>
                <a:gd name="T12" fmla="*/ 181 w 215"/>
                <a:gd name="T13" fmla="*/ 105 h 149"/>
                <a:gd name="T14" fmla="*/ 215 w 215"/>
                <a:gd name="T15" fmla="*/ 68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149">
                  <a:moveTo>
                    <a:pt x="215" y="68"/>
                  </a:moveTo>
                  <a:cubicBezTo>
                    <a:pt x="206" y="75"/>
                    <a:pt x="194" y="78"/>
                    <a:pt x="186" y="79"/>
                  </a:cubicBezTo>
                  <a:cubicBezTo>
                    <a:pt x="170" y="81"/>
                    <a:pt x="153" y="76"/>
                    <a:pt x="143" y="63"/>
                  </a:cubicBezTo>
                  <a:cubicBezTo>
                    <a:pt x="134" y="52"/>
                    <a:pt x="129" y="39"/>
                    <a:pt x="121" y="28"/>
                  </a:cubicBezTo>
                  <a:cubicBezTo>
                    <a:pt x="107" y="11"/>
                    <a:pt x="86" y="0"/>
                    <a:pt x="64" y="4"/>
                  </a:cubicBezTo>
                  <a:cubicBezTo>
                    <a:pt x="20" y="12"/>
                    <a:pt x="0" y="63"/>
                    <a:pt x="25" y="98"/>
                  </a:cubicBezTo>
                  <a:cubicBezTo>
                    <a:pt x="60" y="149"/>
                    <a:pt x="140" y="140"/>
                    <a:pt x="181" y="105"/>
                  </a:cubicBezTo>
                  <a:cubicBezTo>
                    <a:pt x="193" y="94"/>
                    <a:pt x="205" y="82"/>
                    <a:pt x="215" y="68"/>
                  </a:cubicBezTo>
                </a:path>
              </a:pathLst>
            </a:custGeom>
            <a:solidFill>
              <a:srgbClr val="FCD116"/>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a:cs typeface="+mn-cs"/>
              </a:endParaRPr>
            </a:p>
          </p:txBody>
        </p:sp>
        <p:sp>
          <p:nvSpPr>
            <p:cNvPr id="69" name="Freeform 210"/>
            <p:cNvSpPr>
              <a:spLocks/>
            </p:cNvSpPr>
            <p:nvPr/>
          </p:nvSpPr>
          <p:spPr bwMode="ltGray">
            <a:xfrm rot="-7982214" flipH="1" flipV="1">
              <a:off x="7441484" y="4450353"/>
              <a:ext cx="447431" cy="312852"/>
            </a:xfrm>
            <a:custGeom>
              <a:avLst/>
              <a:gdLst>
                <a:gd name="T0" fmla="*/ 447431 w 215"/>
                <a:gd name="T1" fmla="*/ 142778 h 149"/>
                <a:gd name="T2" fmla="*/ 387080 w 215"/>
                <a:gd name="T3" fmla="*/ 165875 h 149"/>
                <a:gd name="T4" fmla="*/ 297594 w 215"/>
                <a:gd name="T5" fmla="*/ 132280 h 149"/>
                <a:gd name="T6" fmla="*/ 251810 w 215"/>
                <a:gd name="T7" fmla="*/ 58791 h 149"/>
                <a:gd name="T8" fmla="*/ 133189 w 215"/>
                <a:gd name="T9" fmla="*/ 8399 h 149"/>
                <a:gd name="T10" fmla="*/ 52027 w 215"/>
                <a:gd name="T11" fmla="*/ 205768 h 149"/>
                <a:gd name="T12" fmla="*/ 376674 w 215"/>
                <a:gd name="T13" fmla="*/ 220466 h 149"/>
                <a:gd name="T14" fmla="*/ 447431 w 215"/>
                <a:gd name="T15" fmla="*/ 142778 h 14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5" h="149">
                  <a:moveTo>
                    <a:pt x="215" y="68"/>
                  </a:moveTo>
                  <a:cubicBezTo>
                    <a:pt x="206" y="75"/>
                    <a:pt x="194" y="78"/>
                    <a:pt x="186" y="79"/>
                  </a:cubicBezTo>
                  <a:cubicBezTo>
                    <a:pt x="170" y="81"/>
                    <a:pt x="153" y="76"/>
                    <a:pt x="143" y="63"/>
                  </a:cubicBezTo>
                  <a:cubicBezTo>
                    <a:pt x="134" y="52"/>
                    <a:pt x="129" y="39"/>
                    <a:pt x="121" y="28"/>
                  </a:cubicBezTo>
                  <a:cubicBezTo>
                    <a:pt x="107" y="11"/>
                    <a:pt x="86" y="0"/>
                    <a:pt x="64" y="4"/>
                  </a:cubicBezTo>
                  <a:cubicBezTo>
                    <a:pt x="20" y="12"/>
                    <a:pt x="0" y="63"/>
                    <a:pt x="25" y="98"/>
                  </a:cubicBezTo>
                  <a:cubicBezTo>
                    <a:pt x="60" y="149"/>
                    <a:pt x="140" y="140"/>
                    <a:pt x="181" y="105"/>
                  </a:cubicBezTo>
                  <a:cubicBezTo>
                    <a:pt x="193" y="94"/>
                    <a:pt x="205" y="82"/>
                    <a:pt x="215" y="68"/>
                  </a:cubicBezTo>
                </a:path>
              </a:pathLst>
            </a:custGeom>
            <a:solidFill>
              <a:srgbClr val="4F2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Freeform 39"/>
            <p:cNvSpPr>
              <a:spLocks/>
            </p:cNvSpPr>
            <p:nvPr/>
          </p:nvSpPr>
          <p:spPr bwMode="ltGray">
            <a:xfrm rot="-460381">
              <a:off x="8434578" y="6275457"/>
              <a:ext cx="751609" cy="624668"/>
            </a:xfrm>
            <a:custGeom>
              <a:avLst/>
              <a:gdLst>
                <a:gd name="T0" fmla="*/ 1 w 751609"/>
                <a:gd name="T1" fmla="*/ 317227 h 624668"/>
                <a:gd name="T2" fmla="*/ 508227 w 751609"/>
                <a:gd name="T3" fmla="*/ 443548 h 624668"/>
                <a:gd name="T4" fmla="*/ 696937 w 751609"/>
                <a:gd name="T5" fmla="*/ 427380 h 624668"/>
                <a:gd name="T6" fmla="*/ 670357 w 751609"/>
                <a:gd name="T7" fmla="*/ 624668 h 624668"/>
                <a:gd name="T8" fmla="*/ 448239 w 751609"/>
                <a:gd name="T9" fmla="*/ 594743 h 624668"/>
                <a:gd name="T10" fmla="*/ 537475 w 751609"/>
                <a:gd name="T11" fmla="*/ 590497 h 624668"/>
                <a:gd name="T12" fmla="*/ 623640 w 751609"/>
                <a:gd name="T13" fmla="*/ 594802 h 624668"/>
                <a:gd name="T14" fmla="*/ 533166 w 751609"/>
                <a:gd name="T15" fmla="*/ 517297 h 624668"/>
                <a:gd name="T16" fmla="*/ 447067 w 751609"/>
                <a:gd name="T17" fmla="*/ 594585 h 624668"/>
                <a:gd name="T18" fmla="*/ 0 w 751609"/>
                <a:gd name="T19" fmla="*/ 534354 h 624668"/>
                <a:gd name="T20" fmla="*/ 1 w 751609"/>
                <a:gd name="T21" fmla="*/ 317227 h 624668"/>
                <a:gd name="T22" fmla="*/ 681785 w 751609"/>
                <a:gd name="T23" fmla="*/ 8845 h 624668"/>
                <a:gd name="T24" fmla="*/ 751609 w 751609"/>
                <a:gd name="T25" fmla="*/ 21582 h 624668"/>
                <a:gd name="T26" fmla="*/ 728118 w 751609"/>
                <a:gd name="T27" fmla="*/ 195938 h 624668"/>
                <a:gd name="T28" fmla="*/ 658972 w 751609"/>
                <a:gd name="T29" fmla="*/ 195938 h 624668"/>
                <a:gd name="T30" fmla="*/ 658972 w 751609"/>
                <a:gd name="T31" fmla="*/ 383168 h 624668"/>
                <a:gd name="T32" fmla="*/ 602982 w 751609"/>
                <a:gd name="T33" fmla="*/ 387522 h 624668"/>
                <a:gd name="T34" fmla="*/ 602982 w 751609"/>
                <a:gd name="T35" fmla="*/ 195938 h 624668"/>
                <a:gd name="T36" fmla="*/ 469463 w 751609"/>
                <a:gd name="T37" fmla="*/ 195938 h 624668"/>
                <a:gd name="T38" fmla="*/ 469463 w 751609"/>
                <a:gd name="T39" fmla="*/ 387522 h 624668"/>
                <a:gd name="T40" fmla="*/ 413473 w 751609"/>
                <a:gd name="T41" fmla="*/ 383168 h 624668"/>
                <a:gd name="T42" fmla="*/ 413473 w 751609"/>
                <a:gd name="T43" fmla="*/ 195938 h 624668"/>
                <a:gd name="T44" fmla="*/ 279957 w 751609"/>
                <a:gd name="T45" fmla="*/ 195938 h 624668"/>
                <a:gd name="T46" fmla="*/ 279956 w 751609"/>
                <a:gd name="T47" fmla="*/ 365751 h 624668"/>
                <a:gd name="T48" fmla="*/ 223964 w 751609"/>
                <a:gd name="T49" fmla="*/ 348334 h 624668"/>
                <a:gd name="T50" fmla="*/ 223964 w 751609"/>
                <a:gd name="T51" fmla="*/ 195938 h 624668"/>
                <a:gd name="T52" fmla="*/ 90448 w 751609"/>
                <a:gd name="T53" fmla="*/ 195938 h 624668"/>
                <a:gd name="T54" fmla="*/ 90447 w 751609"/>
                <a:gd name="T55" fmla="*/ 304793 h 624668"/>
                <a:gd name="T56" fmla="*/ 1 w 751609"/>
                <a:gd name="T57" fmla="*/ 256897 h 624668"/>
                <a:gd name="T58" fmla="*/ 1 w 751609"/>
                <a:gd name="T59" fmla="*/ 255265 h 624668"/>
                <a:gd name="T60" fmla="*/ 1 w 751609"/>
                <a:gd name="T61" fmla="*/ 243834 h 624668"/>
                <a:gd name="T62" fmla="*/ 0 w 751609"/>
                <a:gd name="T63" fmla="*/ 134979 h 624668"/>
                <a:gd name="T64" fmla="*/ 534069 w 751609"/>
                <a:gd name="T65" fmla="*/ 0 h 624668"/>
                <a:gd name="T66" fmla="*/ 681785 w 751609"/>
                <a:gd name="T67" fmla="*/ 8845 h 624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51609" h="624668">
                  <a:moveTo>
                    <a:pt x="1" y="317227"/>
                  </a:moveTo>
                  <a:cubicBezTo>
                    <a:pt x="142132" y="399989"/>
                    <a:pt x="314411" y="443548"/>
                    <a:pt x="508227" y="443548"/>
                  </a:cubicBezTo>
                  <a:cubicBezTo>
                    <a:pt x="571103" y="443548"/>
                    <a:pt x="634431" y="438505"/>
                    <a:pt x="696937" y="427380"/>
                  </a:cubicBezTo>
                  <a:lnTo>
                    <a:pt x="670357" y="624668"/>
                  </a:lnTo>
                  <a:lnTo>
                    <a:pt x="448239" y="594743"/>
                  </a:lnTo>
                  <a:cubicBezTo>
                    <a:pt x="477974" y="590496"/>
                    <a:pt x="507723" y="590496"/>
                    <a:pt x="537475" y="590497"/>
                  </a:cubicBezTo>
                  <a:lnTo>
                    <a:pt x="623640" y="594802"/>
                  </a:lnTo>
                  <a:cubicBezTo>
                    <a:pt x="619332" y="551744"/>
                    <a:pt x="580557" y="517297"/>
                    <a:pt x="533166" y="517297"/>
                  </a:cubicBezTo>
                  <a:cubicBezTo>
                    <a:pt x="490158" y="517297"/>
                    <a:pt x="451443" y="551625"/>
                    <a:pt x="447067" y="594585"/>
                  </a:cubicBezTo>
                  <a:lnTo>
                    <a:pt x="0" y="534354"/>
                  </a:lnTo>
                  <a:cubicBezTo>
                    <a:pt x="0" y="482309"/>
                    <a:pt x="0" y="412057"/>
                    <a:pt x="1" y="317227"/>
                  </a:cubicBezTo>
                  <a:close/>
                  <a:moveTo>
                    <a:pt x="681785" y="8845"/>
                  </a:moveTo>
                  <a:cubicBezTo>
                    <a:pt x="705432" y="11688"/>
                    <a:pt x="728872" y="15207"/>
                    <a:pt x="751609" y="21582"/>
                  </a:cubicBezTo>
                  <a:lnTo>
                    <a:pt x="728118" y="195938"/>
                  </a:lnTo>
                  <a:cubicBezTo>
                    <a:pt x="710397" y="195938"/>
                    <a:pt x="687795" y="195938"/>
                    <a:pt x="658972" y="195938"/>
                  </a:cubicBezTo>
                  <a:cubicBezTo>
                    <a:pt x="658973" y="195955"/>
                    <a:pt x="658971" y="197670"/>
                    <a:pt x="658972" y="383168"/>
                  </a:cubicBezTo>
                  <a:cubicBezTo>
                    <a:pt x="641745" y="387522"/>
                    <a:pt x="620209" y="387522"/>
                    <a:pt x="602982" y="387522"/>
                  </a:cubicBezTo>
                  <a:cubicBezTo>
                    <a:pt x="602982" y="387503"/>
                    <a:pt x="602982" y="385637"/>
                    <a:pt x="602982" y="195938"/>
                  </a:cubicBezTo>
                  <a:cubicBezTo>
                    <a:pt x="602962" y="195938"/>
                    <a:pt x="601326" y="195938"/>
                    <a:pt x="469463" y="195938"/>
                  </a:cubicBezTo>
                  <a:cubicBezTo>
                    <a:pt x="469465" y="195955"/>
                    <a:pt x="469464" y="197716"/>
                    <a:pt x="469463" y="387522"/>
                  </a:cubicBezTo>
                  <a:cubicBezTo>
                    <a:pt x="452235" y="387522"/>
                    <a:pt x="430701" y="387522"/>
                    <a:pt x="413473" y="383168"/>
                  </a:cubicBezTo>
                  <a:cubicBezTo>
                    <a:pt x="413473" y="383151"/>
                    <a:pt x="413473" y="381389"/>
                    <a:pt x="413473" y="195938"/>
                  </a:cubicBezTo>
                  <a:cubicBezTo>
                    <a:pt x="413451" y="195938"/>
                    <a:pt x="411765" y="195938"/>
                    <a:pt x="279957" y="195938"/>
                  </a:cubicBezTo>
                  <a:cubicBezTo>
                    <a:pt x="279955" y="195952"/>
                    <a:pt x="279957" y="197506"/>
                    <a:pt x="279956" y="365751"/>
                  </a:cubicBezTo>
                  <a:cubicBezTo>
                    <a:pt x="262727" y="361397"/>
                    <a:pt x="241193" y="357043"/>
                    <a:pt x="223964" y="348334"/>
                  </a:cubicBezTo>
                  <a:cubicBezTo>
                    <a:pt x="223966" y="348322"/>
                    <a:pt x="223964" y="346947"/>
                    <a:pt x="223964" y="195938"/>
                  </a:cubicBezTo>
                  <a:cubicBezTo>
                    <a:pt x="223943" y="195938"/>
                    <a:pt x="222271" y="195938"/>
                    <a:pt x="90448" y="195938"/>
                  </a:cubicBezTo>
                  <a:cubicBezTo>
                    <a:pt x="90448" y="195955"/>
                    <a:pt x="90448" y="197288"/>
                    <a:pt x="90447" y="304793"/>
                  </a:cubicBezTo>
                  <a:cubicBezTo>
                    <a:pt x="60299" y="291731"/>
                    <a:pt x="30149" y="274314"/>
                    <a:pt x="1" y="256897"/>
                  </a:cubicBezTo>
                  <a:cubicBezTo>
                    <a:pt x="0" y="256890"/>
                    <a:pt x="1" y="256789"/>
                    <a:pt x="1" y="255265"/>
                  </a:cubicBezTo>
                  <a:lnTo>
                    <a:pt x="1" y="243834"/>
                  </a:lnTo>
                  <a:cubicBezTo>
                    <a:pt x="1" y="243816"/>
                    <a:pt x="1" y="242438"/>
                    <a:pt x="0" y="134979"/>
                  </a:cubicBezTo>
                  <a:cubicBezTo>
                    <a:pt x="167974" y="47896"/>
                    <a:pt x="340254" y="0"/>
                    <a:pt x="534069" y="0"/>
                  </a:cubicBezTo>
                  <a:cubicBezTo>
                    <a:pt x="583600" y="0"/>
                    <a:pt x="633130" y="2993"/>
                    <a:pt x="681785" y="8845"/>
                  </a:cubicBezTo>
                  <a:close/>
                </a:path>
              </a:pathLst>
            </a:custGeom>
            <a:solidFill>
              <a:srgbClr val="4F2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 name="Oval 12"/>
            <p:cNvSpPr>
              <a:spLocks/>
            </p:cNvSpPr>
            <p:nvPr/>
          </p:nvSpPr>
          <p:spPr bwMode="ltGray">
            <a:xfrm>
              <a:off x="8625439" y="5247350"/>
              <a:ext cx="518561" cy="909989"/>
            </a:xfrm>
            <a:custGeom>
              <a:avLst/>
              <a:gdLst>
                <a:gd name="T0" fmla="*/ 325923 w 518561"/>
                <a:gd name="T1" fmla="*/ 2908 h 909989"/>
                <a:gd name="T2" fmla="*/ 355546 w 518561"/>
                <a:gd name="T3" fmla="*/ 9166 h 909989"/>
                <a:gd name="T4" fmla="*/ 366108 w 518561"/>
                <a:gd name="T5" fmla="*/ 12428 h 909989"/>
                <a:gd name="T6" fmla="*/ 518561 w 518561"/>
                <a:gd name="T7" fmla="*/ 122296 h 909989"/>
                <a:gd name="T8" fmla="*/ 507546 w 518561"/>
                <a:gd name="T9" fmla="*/ 636144 h 909989"/>
                <a:gd name="T10" fmla="*/ 449801 w 518561"/>
                <a:gd name="T11" fmla="*/ 718604 h 909989"/>
                <a:gd name="T12" fmla="*/ 416042 w 518561"/>
                <a:gd name="T13" fmla="*/ 753533 h 909989"/>
                <a:gd name="T14" fmla="*/ 380145 w 518561"/>
                <a:gd name="T15" fmla="*/ 786133 h 909989"/>
                <a:gd name="T16" fmla="*/ 285668 w 518561"/>
                <a:gd name="T17" fmla="*/ 852235 h 909989"/>
                <a:gd name="T18" fmla="*/ 208620 w 518561"/>
                <a:gd name="T19" fmla="*/ 896303 h 909989"/>
                <a:gd name="T20" fmla="*/ 195186 w 518561"/>
                <a:gd name="T21" fmla="*/ 896279 h 909989"/>
                <a:gd name="T22" fmla="*/ 219226 w 518561"/>
                <a:gd name="T23" fmla="*/ 866190 h 909989"/>
                <a:gd name="T24" fmla="*/ 237503 w 518561"/>
                <a:gd name="T25" fmla="*/ 832617 h 909989"/>
                <a:gd name="T26" fmla="*/ 252452 w 518561"/>
                <a:gd name="T27" fmla="*/ 802146 h 909989"/>
                <a:gd name="T28" fmla="*/ 264110 w 518561"/>
                <a:gd name="T29" fmla="*/ 761042 h 909989"/>
                <a:gd name="T30" fmla="*/ 268245 w 518561"/>
                <a:gd name="T31" fmla="*/ 706503 h 909989"/>
                <a:gd name="T32" fmla="*/ 259555 w 518561"/>
                <a:gd name="T33" fmla="*/ 653586 h 909989"/>
                <a:gd name="T34" fmla="*/ 236961 w 518561"/>
                <a:gd name="T35" fmla="*/ 604560 h 909989"/>
                <a:gd name="T36" fmla="*/ 202692 w 518561"/>
                <a:gd name="T37" fmla="*/ 565463 h 909989"/>
                <a:gd name="T38" fmla="*/ 148933 w 518561"/>
                <a:gd name="T39" fmla="*/ 518602 h 909989"/>
                <a:gd name="T40" fmla="*/ 93689 w 518561"/>
                <a:gd name="T41" fmla="*/ 472912 h 909989"/>
                <a:gd name="T42" fmla="*/ 54534 w 518561"/>
                <a:gd name="T43" fmla="*/ 427513 h 909989"/>
                <a:gd name="T44" fmla="*/ 25910 w 518561"/>
                <a:gd name="T45" fmla="*/ 379470 h 909989"/>
                <a:gd name="T46" fmla="*/ 13133 w 518561"/>
                <a:gd name="T47" fmla="*/ 344902 h 909989"/>
                <a:gd name="T48" fmla="*/ 3934 w 518561"/>
                <a:gd name="T49" fmla="*/ 309635 h 909989"/>
                <a:gd name="T50" fmla="*/ 0 w 518561"/>
                <a:gd name="T51" fmla="*/ 273046 h 909989"/>
                <a:gd name="T52" fmla="*/ 1175 w 518561"/>
                <a:gd name="T53" fmla="*/ 236440 h 909989"/>
                <a:gd name="T54" fmla="*/ 8987 w 518561"/>
                <a:gd name="T55" fmla="*/ 200499 h 909989"/>
                <a:gd name="T56" fmla="*/ 22876 w 518561"/>
                <a:gd name="T57" fmla="*/ 165430 h 909989"/>
                <a:gd name="T58" fmla="*/ 50642 w 518561"/>
                <a:gd name="T59" fmla="*/ 117749 h 909989"/>
                <a:gd name="T60" fmla="*/ 100436 w 518561"/>
                <a:gd name="T61" fmla="*/ 65668 h 909989"/>
                <a:gd name="T62" fmla="*/ 158924 w 518561"/>
                <a:gd name="T63" fmla="*/ 28459 h 909989"/>
                <a:gd name="T64" fmla="*/ 223292 w 518561"/>
                <a:gd name="T65" fmla="*/ 7163 h 909989"/>
                <a:gd name="T66" fmla="*/ 291606 w 518561"/>
                <a:gd name="T67" fmla="*/ 0 h 909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8561" h="909989">
                  <a:moveTo>
                    <a:pt x="291606" y="0"/>
                  </a:moveTo>
                  <a:lnTo>
                    <a:pt x="325923" y="2908"/>
                  </a:lnTo>
                  <a:lnTo>
                    <a:pt x="334103" y="4636"/>
                  </a:lnTo>
                  <a:cubicBezTo>
                    <a:pt x="341525" y="5007"/>
                    <a:pt x="348709" y="6504"/>
                    <a:pt x="355546" y="9166"/>
                  </a:cubicBezTo>
                  <a:lnTo>
                    <a:pt x="359208" y="9940"/>
                  </a:lnTo>
                  <a:lnTo>
                    <a:pt x="366108" y="12428"/>
                  </a:lnTo>
                  <a:cubicBezTo>
                    <a:pt x="377245" y="14685"/>
                    <a:pt x="387711" y="18785"/>
                    <a:pt x="397436" y="24299"/>
                  </a:cubicBezTo>
                  <a:cubicBezTo>
                    <a:pt x="458015" y="57687"/>
                    <a:pt x="489643" y="84643"/>
                    <a:pt x="518561" y="122296"/>
                  </a:cubicBezTo>
                  <a:lnTo>
                    <a:pt x="518561" y="615241"/>
                  </a:lnTo>
                  <a:lnTo>
                    <a:pt x="507546" y="636144"/>
                  </a:lnTo>
                  <a:lnTo>
                    <a:pt x="479282" y="679020"/>
                  </a:lnTo>
                  <a:lnTo>
                    <a:pt x="449801" y="718604"/>
                  </a:lnTo>
                  <a:lnTo>
                    <a:pt x="432843" y="736721"/>
                  </a:lnTo>
                  <a:lnTo>
                    <a:pt x="416042" y="753533"/>
                  </a:lnTo>
                  <a:lnTo>
                    <a:pt x="398476" y="770004"/>
                  </a:lnTo>
                  <a:lnTo>
                    <a:pt x="380145" y="786133"/>
                  </a:lnTo>
                  <a:lnTo>
                    <a:pt x="333469" y="818976"/>
                  </a:lnTo>
                  <a:lnTo>
                    <a:pt x="285668" y="852235"/>
                  </a:lnTo>
                  <a:lnTo>
                    <a:pt x="234401" y="883032"/>
                  </a:lnTo>
                  <a:lnTo>
                    <a:pt x="208620" y="896303"/>
                  </a:lnTo>
                  <a:lnTo>
                    <a:pt x="181714" y="909989"/>
                  </a:lnTo>
                  <a:lnTo>
                    <a:pt x="195186" y="896279"/>
                  </a:lnTo>
                  <a:lnTo>
                    <a:pt x="207487" y="881131"/>
                  </a:lnTo>
                  <a:lnTo>
                    <a:pt x="219226" y="866190"/>
                  </a:lnTo>
                  <a:lnTo>
                    <a:pt x="229028" y="849470"/>
                  </a:lnTo>
                  <a:lnTo>
                    <a:pt x="237503" y="832617"/>
                  </a:lnTo>
                  <a:lnTo>
                    <a:pt x="245056" y="816729"/>
                  </a:lnTo>
                  <a:lnTo>
                    <a:pt x="252452" y="802146"/>
                  </a:lnTo>
                  <a:lnTo>
                    <a:pt x="256630" y="787505"/>
                  </a:lnTo>
                  <a:lnTo>
                    <a:pt x="264110" y="761042"/>
                  </a:lnTo>
                  <a:lnTo>
                    <a:pt x="267607" y="734180"/>
                  </a:lnTo>
                  <a:cubicBezTo>
                    <a:pt x="267820" y="724954"/>
                    <a:pt x="268032" y="715729"/>
                    <a:pt x="268245" y="706503"/>
                  </a:cubicBezTo>
                  <a:lnTo>
                    <a:pt x="266072" y="679866"/>
                  </a:lnTo>
                  <a:lnTo>
                    <a:pt x="259555" y="653586"/>
                  </a:lnTo>
                  <a:lnTo>
                    <a:pt x="250227" y="628346"/>
                  </a:lnTo>
                  <a:lnTo>
                    <a:pt x="236961" y="604560"/>
                  </a:lnTo>
                  <a:lnTo>
                    <a:pt x="218633" y="582647"/>
                  </a:lnTo>
                  <a:lnTo>
                    <a:pt x="202692" y="565463"/>
                  </a:lnTo>
                  <a:lnTo>
                    <a:pt x="185830" y="549244"/>
                  </a:lnTo>
                  <a:lnTo>
                    <a:pt x="148933" y="518602"/>
                  </a:lnTo>
                  <a:lnTo>
                    <a:pt x="111879" y="489265"/>
                  </a:lnTo>
                  <a:lnTo>
                    <a:pt x="93689" y="472912"/>
                  </a:lnTo>
                  <a:lnTo>
                    <a:pt x="78357" y="457375"/>
                  </a:lnTo>
                  <a:lnTo>
                    <a:pt x="54534" y="427513"/>
                  </a:lnTo>
                  <a:lnTo>
                    <a:pt x="34446" y="395648"/>
                  </a:lnTo>
                  <a:lnTo>
                    <a:pt x="25910" y="379470"/>
                  </a:lnTo>
                  <a:lnTo>
                    <a:pt x="19420" y="361911"/>
                  </a:lnTo>
                  <a:lnTo>
                    <a:pt x="13133" y="344902"/>
                  </a:lnTo>
                  <a:lnTo>
                    <a:pt x="7971" y="327476"/>
                  </a:lnTo>
                  <a:lnTo>
                    <a:pt x="3934" y="309635"/>
                  </a:lnTo>
                  <a:lnTo>
                    <a:pt x="1225" y="291927"/>
                  </a:lnTo>
                  <a:cubicBezTo>
                    <a:pt x="817" y="285633"/>
                    <a:pt x="408" y="279340"/>
                    <a:pt x="0" y="273046"/>
                  </a:cubicBezTo>
                  <a:cubicBezTo>
                    <a:pt x="289" y="266911"/>
                    <a:pt x="579" y="260775"/>
                    <a:pt x="868" y="254640"/>
                  </a:cubicBezTo>
                  <a:cubicBezTo>
                    <a:pt x="970" y="248573"/>
                    <a:pt x="1073" y="242507"/>
                    <a:pt x="1175" y="236440"/>
                  </a:cubicBezTo>
                  <a:lnTo>
                    <a:pt x="4699" y="218299"/>
                  </a:lnTo>
                  <a:lnTo>
                    <a:pt x="8987" y="200499"/>
                  </a:lnTo>
                  <a:lnTo>
                    <a:pt x="15729" y="182416"/>
                  </a:lnTo>
                  <a:lnTo>
                    <a:pt x="22876" y="165430"/>
                  </a:lnTo>
                  <a:lnTo>
                    <a:pt x="31553" y="149126"/>
                  </a:lnTo>
                  <a:lnTo>
                    <a:pt x="50642" y="117749"/>
                  </a:lnTo>
                  <a:lnTo>
                    <a:pt x="73603" y="89929"/>
                  </a:lnTo>
                  <a:lnTo>
                    <a:pt x="100436" y="65668"/>
                  </a:lnTo>
                  <a:lnTo>
                    <a:pt x="128329" y="46003"/>
                  </a:lnTo>
                  <a:lnTo>
                    <a:pt x="158924" y="28459"/>
                  </a:lnTo>
                  <a:lnTo>
                    <a:pt x="190218" y="16269"/>
                  </a:lnTo>
                  <a:lnTo>
                    <a:pt x="223292" y="7163"/>
                  </a:lnTo>
                  <a:lnTo>
                    <a:pt x="257224" y="2106"/>
                  </a:lnTo>
                  <a:lnTo>
                    <a:pt x="291606" y="0"/>
                  </a:lnTo>
                  <a:close/>
                </a:path>
              </a:pathLst>
            </a:custGeom>
            <a:solidFill>
              <a:srgbClr val="00B7C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 name="Freeform 5"/>
            <p:cNvSpPr>
              <a:spLocks/>
            </p:cNvSpPr>
            <p:nvPr/>
          </p:nvSpPr>
          <p:spPr bwMode="ltGray">
            <a:xfrm rot="-1142370">
              <a:off x="7961380" y="4325496"/>
              <a:ext cx="1225017" cy="894850"/>
            </a:xfrm>
            <a:custGeom>
              <a:avLst/>
              <a:gdLst>
                <a:gd name="T0" fmla="*/ 232090 w 1225017"/>
                <a:gd name="T1" fmla="*/ 744339 h 894850"/>
                <a:gd name="T2" fmla="*/ 424798 w 1225017"/>
                <a:gd name="T3" fmla="*/ 667255 h 894850"/>
                <a:gd name="T4" fmla="*/ 466195 w 1225017"/>
                <a:gd name="T5" fmla="*/ 705797 h 894850"/>
                <a:gd name="T6" fmla="*/ 581818 w 1225017"/>
                <a:gd name="T7" fmla="*/ 705797 h 894850"/>
                <a:gd name="T8" fmla="*/ 620361 w 1225017"/>
                <a:gd name="T9" fmla="*/ 667255 h 894850"/>
                <a:gd name="T10" fmla="*/ 232090 w 1225017"/>
                <a:gd name="T11" fmla="*/ 573044 h 894850"/>
                <a:gd name="T12" fmla="*/ 817350 w 1225017"/>
                <a:gd name="T13" fmla="*/ 667255 h 894850"/>
                <a:gd name="T14" fmla="*/ 858748 w 1225017"/>
                <a:gd name="T15" fmla="*/ 705797 h 894850"/>
                <a:gd name="T16" fmla="*/ 383401 w 1225017"/>
                <a:gd name="T17" fmla="*/ 533787 h 894850"/>
                <a:gd name="T18" fmla="*/ 424798 w 1225017"/>
                <a:gd name="T19" fmla="*/ 494532 h 894850"/>
                <a:gd name="T20" fmla="*/ 1012914 w 1225017"/>
                <a:gd name="T21" fmla="*/ 744339 h 894850"/>
                <a:gd name="T22" fmla="*/ 620360 w 1225017"/>
                <a:gd name="T23" fmla="*/ 494532 h 894850"/>
                <a:gd name="T24" fmla="*/ 658902 w 1225017"/>
                <a:gd name="T25" fmla="*/ 533787 h 894850"/>
                <a:gd name="T26" fmla="*/ 190692 w 1225017"/>
                <a:gd name="T27" fmla="*/ 361778 h 894850"/>
                <a:gd name="T28" fmla="*/ 232089 w 1225017"/>
                <a:gd name="T29" fmla="*/ 323236 h 894850"/>
                <a:gd name="T30" fmla="*/ 817351 w 1225017"/>
                <a:gd name="T31" fmla="*/ 573044 h 894850"/>
                <a:gd name="T32" fmla="*/ 424798 w 1225017"/>
                <a:gd name="T33" fmla="*/ 323236 h 894850"/>
                <a:gd name="T34" fmla="*/ 466195 w 1225017"/>
                <a:gd name="T35" fmla="*/ 361778 h 894850"/>
                <a:gd name="T36" fmla="*/ 974372 w 1225017"/>
                <a:gd name="T37" fmla="*/ 533787 h 894850"/>
                <a:gd name="T38" fmla="*/ 1012914 w 1225017"/>
                <a:gd name="T39" fmla="*/ 494531 h 894850"/>
                <a:gd name="T40" fmla="*/ 620360 w 1225017"/>
                <a:gd name="T41" fmla="*/ 400320 h 894850"/>
                <a:gd name="T42" fmla="*/ 232089 w 1225017"/>
                <a:gd name="T43" fmla="*/ 144804 h 894850"/>
                <a:gd name="T44" fmla="*/ 273487 w 1225017"/>
                <a:gd name="T45" fmla="*/ 186201 h 894850"/>
                <a:gd name="T46" fmla="*/ 775953 w 1225017"/>
                <a:gd name="T47" fmla="*/ 361778 h 894850"/>
                <a:gd name="T48" fmla="*/ 817351 w 1225017"/>
                <a:gd name="T49" fmla="*/ 323236 h 894850"/>
                <a:gd name="T50" fmla="*/ 424798 w 1225017"/>
                <a:gd name="T51" fmla="*/ 227597 h 894850"/>
                <a:gd name="T52" fmla="*/ 1012914 w 1225017"/>
                <a:gd name="T53" fmla="*/ 323236 h 894850"/>
                <a:gd name="T54" fmla="*/ 1051456 w 1225017"/>
                <a:gd name="T55" fmla="*/ 361778 h 894850"/>
                <a:gd name="T56" fmla="*/ 581819 w 1225017"/>
                <a:gd name="T57" fmla="*/ 186201 h 894850"/>
                <a:gd name="T58" fmla="*/ 620361 w 1225017"/>
                <a:gd name="T59" fmla="*/ 144804 h 894850"/>
                <a:gd name="T60" fmla="*/ 817350 w 1225017"/>
                <a:gd name="T61" fmla="*/ 227597 h 894850"/>
                <a:gd name="T62" fmla="*/ 1012914 w 1225017"/>
                <a:gd name="T63" fmla="*/ 144804 h 894850"/>
                <a:gd name="T64" fmla="*/ 1051456 w 1225017"/>
                <a:gd name="T65" fmla="*/ 186201 h 894850"/>
                <a:gd name="T66" fmla="*/ 1223119 w 1225017"/>
                <a:gd name="T67" fmla="*/ 83755 h 894850"/>
                <a:gd name="T68" fmla="*/ 1184438 w 1225017"/>
                <a:gd name="T69" fmla="*/ 233665 h 894850"/>
                <a:gd name="T70" fmla="*/ 1184439 w 1225017"/>
                <a:gd name="T71" fmla="*/ 339851 h 894850"/>
                <a:gd name="T72" fmla="*/ 1184439 w 1225017"/>
                <a:gd name="T73" fmla="*/ 444649 h 894850"/>
                <a:gd name="T74" fmla="*/ 1205633 w 1225017"/>
                <a:gd name="T75" fmla="*/ 476347 h 894850"/>
                <a:gd name="T76" fmla="*/ 985507 w 1225017"/>
                <a:gd name="T77" fmla="*/ 849962 h 894850"/>
                <a:gd name="T78" fmla="*/ 852885 w 1225017"/>
                <a:gd name="T79" fmla="*/ 877722 h 894850"/>
                <a:gd name="T80" fmla="*/ 665006 w 1225017"/>
                <a:gd name="T81" fmla="*/ 849962 h 894850"/>
                <a:gd name="T82" fmla="*/ 526858 w 1225017"/>
                <a:gd name="T83" fmla="*/ 877722 h 894850"/>
                <a:gd name="T84" fmla="*/ 344504 w 1225017"/>
                <a:gd name="T85" fmla="*/ 849962 h 894850"/>
                <a:gd name="T86" fmla="*/ 211883 w 1225017"/>
                <a:gd name="T87" fmla="*/ 877722 h 894850"/>
                <a:gd name="T88" fmla="*/ 1899 w 1225017"/>
                <a:gd name="T89" fmla="*/ 811096 h 894850"/>
                <a:gd name="T90" fmla="*/ 40581 w 1225017"/>
                <a:gd name="T91" fmla="*/ 666738 h 894850"/>
                <a:gd name="T92" fmla="*/ 18477 w 1225017"/>
                <a:gd name="T93" fmla="*/ 583455 h 894850"/>
                <a:gd name="T94" fmla="*/ 40581 w 1225017"/>
                <a:gd name="T95" fmla="*/ 450202 h 894850"/>
                <a:gd name="T96" fmla="*/ 18477 w 1225017"/>
                <a:gd name="T97" fmla="*/ 366919 h 894850"/>
                <a:gd name="T98" fmla="*/ 40581 w 1225017"/>
                <a:gd name="T99" fmla="*/ 339157 h 894850"/>
                <a:gd name="T100" fmla="*/ 18477 w 1225017"/>
                <a:gd name="T101" fmla="*/ 155934 h 894850"/>
                <a:gd name="T102" fmla="*/ 79261 w 1225017"/>
                <a:gd name="T103" fmla="*/ 472 h 894850"/>
                <a:gd name="T104" fmla="*/ 239512 w 1225017"/>
                <a:gd name="T105" fmla="*/ 33785 h 894850"/>
                <a:gd name="T106" fmla="*/ 421866 w 1225017"/>
                <a:gd name="T107" fmla="*/ 6025 h 894850"/>
                <a:gd name="T108" fmla="*/ 560013 w 1225017"/>
                <a:gd name="T109" fmla="*/ 33785 h 894850"/>
                <a:gd name="T110" fmla="*/ 742367 w 1225017"/>
                <a:gd name="T111" fmla="*/ 6024 h 894850"/>
                <a:gd name="T112" fmla="*/ 880514 w 1225017"/>
                <a:gd name="T113" fmla="*/ 33785 h 894850"/>
                <a:gd name="T114" fmla="*/ 1062868 w 1225017"/>
                <a:gd name="T115" fmla="*/ 6024 h 894850"/>
                <a:gd name="T116" fmla="*/ 1180380 w 1225017"/>
                <a:gd name="T117" fmla="*/ 4896 h 894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25017" h="894850">
                  <a:moveTo>
                    <a:pt x="232089" y="667255"/>
                  </a:moveTo>
                  <a:cubicBezTo>
                    <a:pt x="209227" y="667255"/>
                    <a:pt x="190693" y="684511"/>
                    <a:pt x="190693" y="705797"/>
                  </a:cubicBezTo>
                  <a:cubicBezTo>
                    <a:pt x="190692" y="727084"/>
                    <a:pt x="209227" y="744339"/>
                    <a:pt x="232090" y="744339"/>
                  </a:cubicBezTo>
                  <a:cubicBezTo>
                    <a:pt x="254952" y="744339"/>
                    <a:pt x="273486" y="727084"/>
                    <a:pt x="273486" y="705797"/>
                  </a:cubicBezTo>
                  <a:cubicBezTo>
                    <a:pt x="273486" y="684511"/>
                    <a:pt x="254952" y="667255"/>
                    <a:pt x="232089" y="667255"/>
                  </a:cubicBezTo>
                  <a:close/>
                  <a:moveTo>
                    <a:pt x="424798" y="667255"/>
                  </a:moveTo>
                  <a:cubicBezTo>
                    <a:pt x="401935" y="667255"/>
                    <a:pt x="383400" y="684511"/>
                    <a:pt x="383401" y="705798"/>
                  </a:cubicBezTo>
                  <a:cubicBezTo>
                    <a:pt x="383401" y="727084"/>
                    <a:pt x="401935" y="744339"/>
                    <a:pt x="424798" y="744339"/>
                  </a:cubicBezTo>
                  <a:cubicBezTo>
                    <a:pt x="447661" y="744339"/>
                    <a:pt x="466195" y="727084"/>
                    <a:pt x="466195" y="705797"/>
                  </a:cubicBezTo>
                  <a:cubicBezTo>
                    <a:pt x="466195" y="684511"/>
                    <a:pt x="447661" y="667255"/>
                    <a:pt x="424798" y="667255"/>
                  </a:cubicBezTo>
                  <a:close/>
                  <a:moveTo>
                    <a:pt x="620361" y="667255"/>
                  </a:moveTo>
                  <a:cubicBezTo>
                    <a:pt x="599074" y="667255"/>
                    <a:pt x="581818" y="684511"/>
                    <a:pt x="581818" y="705797"/>
                  </a:cubicBezTo>
                  <a:cubicBezTo>
                    <a:pt x="581818" y="727083"/>
                    <a:pt x="599074" y="744339"/>
                    <a:pt x="620360" y="744339"/>
                  </a:cubicBezTo>
                  <a:cubicBezTo>
                    <a:pt x="641647" y="744339"/>
                    <a:pt x="658902" y="727083"/>
                    <a:pt x="658902" y="705797"/>
                  </a:cubicBezTo>
                  <a:cubicBezTo>
                    <a:pt x="658902" y="684510"/>
                    <a:pt x="641647" y="667255"/>
                    <a:pt x="620361" y="667255"/>
                  </a:cubicBezTo>
                  <a:close/>
                  <a:moveTo>
                    <a:pt x="232090" y="494532"/>
                  </a:moveTo>
                  <a:cubicBezTo>
                    <a:pt x="209226" y="494532"/>
                    <a:pt x="190693" y="512107"/>
                    <a:pt x="190692" y="533788"/>
                  </a:cubicBezTo>
                  <a:cubicBezTo>
                    <a:pt x="190692" y="555468"/>
                    <a:pt x="209227" y="573043"/>
                    <a:pt x="232090" y="573044"/>
                  </a:cubicBezTo>
                  <a:cubicBezTo>
                    <a:pt x="254952" y="573043"/>
                    <a:pt x="273486" y="555468"/>
                    <a:pt x="273486" y="533788"/>
                  </a:cubicBezTo>
                  <a:cubicBezTo>
                    <a:pt x="273486" y="512107"/>
                    <a:pt x="254952" y="494532"/>
                    <a:pt x="232090" y="494532"/>
                  </a:cubicBezTo>
                  <a:close/>
                  <a:moveTo>
                    <a:pt x="817350" y="667255"/>
                  </a:moveTo>
                  <a:cubicBezTo>
                    <a:pt x="794488" y="667255"/>
                    <a:pt x="775953" y="684511"/>
                    <a:pt x="775953" y="705797"/>
                  </a:cubicBezTo>
                  <a:cubicBezTo>
                    <a:pt x="775953" y="727084"/>
                    <a:pt x="794488" y="744339"/>
                    <a:pt x="817351" y="744339"/>
                  </a:cubicBezTo>
                  <a:cubicBezTo>
                    <a:pt x="840214" y="744339"/>
                    <a:pt x="858748" y="727083"/>
                    <a:pt x="858748" y="705797"/>
                  </a:cubicBezTo>
                  <a:cubicBezTo>
                    <a:pt x="858748" y="684511"/>
                    <a:pt x="840214" y="667255"/>
                    <a:pt x="817350" y="667255"/>
                  </a:cubicBezTo>
                  <a:close/>
                  <a:moveTo>
                    <a:pt x="424798" y="494532"/>
                  </a:moveTo>
                  <a:cubicBezTo>
                    <a:pt x="401935" y="494532"/>
                    <a:pt x="383401" y="512107"/>
                    <a:pt x="383401" y="533787"/>
                  </a:cubicBezTo>
                  <a:cubicBezTo>
                    <a:pt x="383401" y="555468"/>
                    <a:pt x="401935" y="573044"/>
                    <a:pt x="424798" y="573043"/>
                  </a:cubicBezTo>
                  <a:cubicBezTo>
                    <a:pt x="447661" y="573044"/>
                    <a:pt x="466195" y="555468"/>
                    <a:pt x="466195" y="533787"/>
                  </a:cubicBezTo>
                  <a:cubicBezTo>
                    <a:pt x="466195" y="512107"/>
                    <a:pt x="447661" y="494532"/>
                    <a:pt x="424798" y="494532"/>
                  </a:cubicBezTo>
                  <a:close/>
                  <a:moveTo>
                    <a:pt x="1012914" y="667255"/>
                  </a:moveTo>
                  <a:cubicBezTo>
                    <a:pt x="991627" y="667255"/>
                    <a:pt x="974372" y="684511"/>
                    <a:pt x="974372" y="705797"/>
                  </a:cubicBezTo>
                  <a:cubicBezTo>
                    <a:pt x="974372" y="727084"/>
                    <a:pt x="991628" y="744339"/>
                    <a:pt x="1012914" y="744339"/>
                  </a:cubicBezTo>
                  <a:cubicBezTo>
                    <a:pt x="1034201" y="744339"/>
                    <a:pt x="1051456" y="727084"/>
                    <a:pt x="1051456" y="705797"/>
                  </a:cubicBezTo>
                  <a:cubicBezTo>
                    <a:pt x="1051456" y="684511"/>
                    <a:pt x="1034200" y="667255"/>
                    <a:pt x="1012914" y="667255"/>
                  </a:cubicBezTo>
                  <a:close/>
                  <a:moveTo>
                    <a:pt x="620360" y="494532"/>
                  </a:moveTo>
                  <a:cubicBezTo>
                    <a:pt x="599074" y="494532"/>
                    <a:pt x="581819" y="512107"/>
                    <a:pt x="581818" y="533787"/>
                  </a:cubicBezTo>
                  <a:cubicBezTo>
                    <a:pt x="581818" y="555468"/>
                    <a:pt x="599074" y="573044"/>
                    <a:pt x="620360" y="573043"/>
                  </a:cubicBezTo>
                  <a:cubicBezTo>
                    <a:pt x="641647" y="573043"/>
                    <a:pt x="658902" y="555468"/>
                    <a:pt x="658902" y="533787"/>
                  </a:cubicBezTo>
                  <a:cubicBezTo>
                    <a:pt x="658902" y="512107"/>
                    <a:pt x="641647" y="494532"/>
                    <a:pt x="620360" y="494532"/>
                  </a:cubicBezTo>
                  <a:close/>
                  <a:moveTo>
                    <a:pt x="232089" y="323236"/>
                  </a:moveTo>
                  <a:cubicBezTo>
                    <a:pt x="209226" y="323236"/>
                    <a:pt x="190692" y="340492"/>
                    <a:pt x="190692" y="361778"/>
                  </a:cubicBezTo>
                  <a:cubicBezTo>
                    <a:pt x="190692" y="383065"/>
                    <a:pt x="209227" y="400320"/>
                    <a:pt x="232089" y="400320"/>
                  </a:cubicBezTo>
                  <a:cubicBezTo>
                    <a:pt x="254952" y="400320"/>
                    <a:pt x="273487" y="383065"/>
                    <a:pt x="273486" y="361778"/>
                  </a:cubicBezTo>
                  <a:cubicBezTo>
                    <a:pt x="273486" y="340492"/>
                    <a:pt x="254953" y="323236"/>
                    <a:pt x="232089" y="323236"/>
                  </a:cubicBezTo>
                  <a:close/>
                  <a:moveTo>
                    <a:pt x="817351" y="494532"/>
                  </a:moveTo>
                  <a:cubicBezTo>
                    <a:pt x="794488" y="494532"/>
                    <a:pt x="775954" y="512107"/>
                    <a:pt x="775953" y="533787"/>
                  </a:cubicBezTo>
                  <a:cubicBezTo>
                    <a:pt x="775954" y="555468"/>
                    <a:pt x="794488" y="573044"/>
                    <a:pt x="817351" y="573044"/>
                  </a:cubicBezTo>
                  <a:cubicBezTo>
                    <a:pt x="840214" y="573043"/>
                    <a:pt x="858748" y="555468"/>
                    <a:pt x="858748" y="533787"/>
                  </a:cubicBezTo>
                  <a:cubicBezTo>
                    <a:pt x="858747" y="512107"/>
                    <a:pt x="840214" y="494532"/>
                    <a:pt x="817351" y="494532"/>
                  </a:cubicBezTo>
                  <a:close/>
                  <a:moveTo>
                    <a:pt x="424798" y="323236"/>
                  </a:moveTo>
                  <a:cubicBezTo>
                    <a:pt x="401935" y="323236"/>
                    <a:pt x="383401" y="340491"/>
                    <a:pt x="383401" y="361778"/>
                  </a:cubicBezTo>
                  <a:cubicBezTo>
                    <a:pt x="383401" y="383065"/>
                    <a:pt x="401935" y="400320"/>
                    <a:pt x="424798" y="400320"/>
                  </a:cubicBezTo>
                  <a:cubicBezTo>
                    <a:pt x="447660" y="400320"/>
                    <a:pt x="466195" y="383064"/>
                    <a:pt x="466195" y="361778"/>
                  </a:cubicBezTo>
                  <a:cubicBezTo>
                    <a:pt x="466195" y="340491"/>
                    <a:pt x="447661" y="323236"/>
                    <a:pt x="424798" y="323236"/>
                  </a:cubicBezTo>
                  <a:close/>
                  <a:moveTo>
                    <a:pt x="1012914" y="494531"/>
                  </a:moveTo>
                  <a:cubicBezTo>
                    <a:pt x="991627" y="494531"/>
                    <a:pt x="974372" y="512107"/>
                    <a:pt x="974372" y="533787"/>
                  </a:cubicBezTo>
                  <a:cubicBezTo>
                    <a:pt x="974372" y="555468"/>
                    <a:pt x="991628" y="573044"/>
                    <a:pt x="1012914" y="573044"/>
                  </a:cubicBezTo>
                  <a:cubicBezTo>
                    <a:pt x="1034201" y="573044"/>
                    <a:pt x="1051456" y="555468"/>
                    <a:pt x="1051456" y="533788"/>
                  </a:cubicBezTo>
                  <a:cubicBezTo>
                    <a:pt x="1051457" y="512107"/>
                    <a:pt x="1034201" y="494532"/>
                    <a:pt x="1012914" y="494531"/>
                  </a:cubicBezTo>
                  <a:close/>
                  <a:moveTo>
                    <a:pt x="620360" y="323236"/>
                  </a:moveTo>
                  <a:cubicBezTo>
                    <a:pt x="599074" y="323236"/>
                    <a:pt x="581818" y="340492"/>
                    <a:pt x="581818" y="361778"/>
                  </a:cubicBezTo>
                  <a:cubicBezTo>
                    <a:pt x="581818" y="383064"/>
                    <a:pt x="599074" y="400320"/>
                    <a:pt x="620360" y="400320"/>
                  </a:cubicBezTo>
                  <a:cubicBezTo>
                    <a:pt x="641647" y="400320"/>
                    <a:pt x="658903" y="383065"/>
                    <a:pt x="658902" y="361778"/>
                  </a:cubicBezTo>
                  <a:cubicBezTo>
                    <a:pt x="658902" y="340491"/>
                    <a:pt x="641647" y="323236"/>
                    <a:pt x="620360" y="323236"/>
                  </a:cubicBezTo>
                  <a:close/>
                  <a:moveTo>
                    <a:pt x="232089" y="144804"/>
                  </a:moveTo>
                  <a:cubicBezTo>
                    <a:pt x="209227" y="144804"/>
                    <a:pt x="190693" y="163338"/>
                    <a:pt x="190692" y="186200"/>
                  </a:cubicBezTo>
                  <a:cubicBezTo>
                    <a:pt x="190693" y="209063"/>
                    <a:pt x="209227" y="227597"/>
                    <a:pt x="232089" y="227598"/>
                  </a:cubicBezTo>
                  <a:cubicBezTo>
                    <a:pt x="254952" y="227597"/>
                    <a:pt x="273486" y="209063"/>
                    <a:pt x="273487" y="186201"/>
                  </a:cubicBezTo>
                  <a:cubicBezTo>
                    <a:pt x="273486" y="163338"/>
                    <a:pt x="254952" y="144804"/>
                    <a:pt x="232089" y="144804"/>
                  </a:cubicBezTo>
                  <a:close/>
                  <a:moveTo>
                    <a:pt x="817351" y="323236"/>
                  </a:moveTo>
                  <a:cubicBezTo>
                    <a:pt x="794487" y="323236"/>
                    <a:pt x="775953" y="340491"/>
                    <a:pt x="775953" y="361778"/>
                  </a:cubicBezTo>
                  <a:cubicBezTo>
                    <a:pt x="775954" y="383065"/>
                    <a:pt x="794488" y="400320"/>
                    <a:pt x="817351" y="400320"/>
                  </a:cubicBezTo>
                  <a:cubicBezTo>
                    <a:pt x="840213" y="400320"/>
                    <a:pt x="858748" y="383064"/>
                    <a:pt x="858748" y="361778"/>
                  </a:cubicBezTo>
                  <a:cubicBezTo>
                    <a:pt x="858748" y="340492"/>
                    <a:pt x="840214" y="323236"/>
                    <a:pt x="817351" y="323236"/>
                  </a:cubicBezTo>
                  <a:close/>
                  <a:moveTo>
                    <a:pt x="424798" y="144804"/>
                  </a:moveTo>
                  <a:cubicBezTo>
                    <a:pt x="401935" y="144804"/>
                    <a:pt x="383401" y="163338"/>
                    <a:pt x="383401" y="186201"/>
                  </a:cubicBezTo>
                  <a:cubicBezTo>
                    <a:pt x="383401" y="209063"/>
                    <a:pt x="401935" y="227598"/>
                    <a:pt x="424798" y="227597"/>
                  </a:cubicBezTo>
                  <a:cubicBezTo>
                    <a:pt x="447661" y="227597"/>
                    <a:pt x="466195" y="209063"/>
                    <a:pt x="466195" y="186200"/>
                  </a:cubicBezTo>
                  <a:cubicBezTo>
                    <a:pt x="466195" y="163338"/>
                    <a:pt x="447661" y="144803"/>
                    <a:pt x="424798" y="144804"/>
                  </a:cubicBezTo>
                  <a:close/>
                  <a:moveTo>
                    <a:pt x="1012914" y="323236"/>
                  </a:moveTo>
                  <a:cubicBezTo>
                    <a:pt x="991627" y="323236"/>
                    <a:pt x="974372" y="340491"/>
                    <a:pt x="974372" y="361778"/>
                  </a:cubicBezTo>
                  <a:cubicBezTo>
                    <a:pt x="974372" y="383064"/>
                    <a:pt x="991628" y="400320"/>
                    <a:pt x="1012914" y="400320"/>
                  </a:cubicBezTo>
                  <a:cubicBezTo>
                    <a:pt x="1034201" y="400320"/>
                    <a:pt x="1051456" y="383064"/>
                    <a:pt x="1051456" y="361778"/>
                  </a:cubicBezTo>
                  <a:cubicBezTo>
                    <a:pt x="1051456" y="340491"/>
                    <a:pt x="1034200" y="323236"/>
                    <a:pt x="1012914" y="323236"/>
                  </a:cubicBezTo>
                  <a:close/>
                  <a:moveTo>
                    <a:pt x="620361" y="144804"/>
                  </a:moveTo>
                  <a:cubicBezTo>
                    <a:pt x="599074" y="144804"/>
                    <a:pt x="581818" y="163338"/>
                    <a:pt x="581819" y="186201"/>
                  </a:cubicBezTo>
                  <a:cubicBezTo>
                    <a:pt x="581819" y="209063"/>
                    <a:pt x="599074" y="227597"/>
                    <a:pt x="620361" y="227597"/>
                  </a:cubicBezTo>
                  <a:cubicBezTo>
                    <a:pt x="641647" y="227598"/>
                    <a:pt x="658902" y="209064"/>
                    <a:pt x="658903" y="186200"/>
                  </a:cubicBezTo>
                  <a:cubicBezTo>
                    <a:pt x="658902" y="163337"/>
                    <a:pt x="641647" y="144804"/>
                    <a:pt x="620361" y="144804"/>
                  </a:cubicBezTo>
                  <a:close/>
                  <a:moveTo>
                    <a:pt x="817350" y="144804"/>
                  </a:moveTo>
                  <a:cubicBezTo>
                    <a:pt x="794488" y="144804"/>
                    <a:pt x="775954" y="163337"/>
                    <a:pt x="775954" y="186200"/>
                  </a:cubicBezTo>
                  <a:cubicBezTo>
                    <a:pt x="775954" y="209064"/>
                    <a:pt x="794488" y="227597"/>
                    <a:pt x="817350" y="227597"/>
                  </a:cubicBezTo>
                  <a:cubicBezTo>
                    <a:pt x="840213" y="227597"/>
                    <a:pt x="858747" y="209063"/>
                    <a:pt x="858748" y="186200"/>
                  </a:cubicBezTo>
                  <a:cubicBezTo>
                    <a:pt x="858748" y="163338"/>
                    <a:pt x="840213" y="144803"/>
                    <a:pt x="817350" y="144804"/>
                  </a:cubicBezTo>
                  <a:close/>
                  <a:moveTo>
                    <a:pt x="1012914" y="144804"/>
                  </a:moveTo>
                  <a:cubicBezTo>
                    <a:pt x="991627" y="144804"/>
                    <a:pt x="974372" y="163338"/>
                    <a:pt x="974372" y="186200"/>
                  </a:cubicBezTo>
                  <a:cubicBezTo>
                    <a:pt x="974372" y="209063"/>
                    <a:pt x="991627" y="227597"/>
                    <a:pt x="1012914" y="227598"/>
                  </a:cubicBezTo>
                  <a:cubicBezTo>
                    <a:pt x="1034200" y="227597"/>
                    <a:pt x="1051457" y="209064"/>
                    <a:pt x="1051456" y="186201"/>
                  </a:cubicBezTo>
                  <a:cubicBezTo>
                    <a:pt x="1051456" y="163338"/>
                    <a:pt x="1034200" y="144803"/>
                    <a:pt x="1012914" y="144804"/>
                  </a:cubicBezTo>
                  <a:close/>
                  <a:moveTo>
                    <a:pt x="1180380" y="4896"/>
                  </a:moveTo>
                  <a:cubicBezTo>
                    <a:pt x="1211722" y="17129"/>
                    <a:pt x="1231407" y="50442"/>
                    <a:pt x="1223119" y="83755"/>
                  </a:cubicBezTo>
                  <a:cubicBezTo>
                    <a:pt x="1217593" y="105964"/>
                    <a:pt x="1201016" y="117068"/>
                    <a:pt x="1184438" y="128173"/>
                  </a:cubicBezTo>
                  <a:cubicBezTo>
                    <a:pt x="1195489" y="133725"/>
                    <a:pt x="1201016" y="144830"/>
                    <a:pt x="1206542" y="155934"/>
                  </a:cubicBezTo>
                  <a:cubicBezTo>
                    <a:pt x="1223119" y="183695"/>
                    <a:pt x="1206542" y="217009"/>
                    <a:pt x="1184438" y="233665"/>
                  </a:cubicBezTo>
                  <a:cubicBezTo>
                    <a:pt x="1195489" y="239217"/>
                    <a:pt x="1201016" y="250322"/>
                    <a:pt x="1206541" y="261426"/>
                  </a:cubicBezTo>
                  <a:cubicBezTo>
                    <a:pt x="1223119" y="294740"/>
                    <a:pt x="1206541" y="322500"/>
                    <a:pt x="1184438" y="339157"/>
                  </a:cubicBezTo>
                  <a:cubicBezTo>
                    <a:pt x="1184438" y="339169"/>
                    <a:pt x="1184438" y="339246"/>
                    <a:pt x="1184439" y="339851"/>
                  </a:cubicBezTo>
                  <a:lnTo>
                    <a:pt x="1184438" y="344709"/>
                  </a:lnTo>
                  <a:cubicBezTo>
                    <a:pt x="1195489" y="350262"/>
                    <a:pt x="1201015" y="355814"/>
                    <a:pt x="1206541" y="366919"/>
                  </a:cubicBezTo>
                  <a:cubicBezTo>
                    <a:pt x="1223119" y="400232"/>
                    <a:pt x="1206541" y="433545"/>
                    <a:pt x="1184439" y="444649"/>
                  </a:cubicBezTo>
                  <a:cubicBezTo>
                    <a:pt x="1184438" y="444661"/>
                    <a:pt x="1184438" y="444735"/>
                    <a:pt x="1184438" y="445343"/>
                  </a:cubicBezTo>
                  <a:lnTo>
                    <a:pt x="1184438" y="450202"/>
                  </a:lnTo>
                  <a:cubicBezTo>
                    <a:pt x="1194940" y="455477"/>
                    <a:pt x="1200452" y="465766"/>
                    <a:pt x="1205633" y="476347"/>
                  </a:cubicBezTo>
                  <a:lnTo>
                    <a:pt x="1068583" y="873479"/>
                  </a:lnTo>
                  <a:cubicBezTo>
                    <a:pt x="1066979" y="875466"/>
                    <a:pt x="1064924" y="876690"/>
                    <a:pt x="1062869" y="877722"/>
                  </a:cubicBezTo>
                  <a:cubicBezTo>
                    <a:pt x="1035239" y="888827"/>
                    <a:pt x="1002084" y="877722"/>
                    <a:pt x="985507" y="849962"/>
                  </a:cubicBezTo>
                  <a:cubicBezTo>
                    <a:pt x="979980" y="861066"/>
                    <a:pt x="968928" y="872171"/>
                    <a:pt x="957877" y="877722"/>
                  </a:cubicBezTo>
                  <a:cubicBezTo>
                    <a:pt x="924721" y="888827"/>
                    <a:pt x="891567" y="877723"/>
                    <a:pt x="880514" y="849961"/>
                  </a:cubicBezTo>
                  <a:cubicBezTo>
                    <a:pt x="869462" y="861065"/>
                    <a:pt x="863937" y="872171"/>
                    <a:pt x="852885" y="877722"/>
                  </a:cubicBezTo>
                  <a:cubicBezTo>
                    <a:pt x="819730" y="888827"/>
                    <a:pt x="786574" y="877722"/>
                    <a:pt x="769996" y="849962"/>
                  </a:cubicBezTo>
                  <a:cubicBezTo>
                    <a:pt x="764471" y="861066"/>
                    <a:pt x="753419" y="872171"/>
                    <a:pt x="742367" y="877722"/>
                  </a:cubicBezTo>
                  <a:cubicBezTo>
                    <a:pt x="714737" y="888827"/>
                    <a:pt x="681582" y="877722"/>
                    <a:pt x="665006" y="849962"/>
                  </a:cubicBezTo>
                  <a:cubicBezTo>
                    <a:pt x="659479" y="861066"/>
                    <a:pt x="648428" y="872171"/>
                    <a:pt x="637376" y="877722"/>
                  </a:cubicBezTo>
                  <a:cubicBezTo>
                    <a:pt x="604221" y="888827"/>
                    <a:pt x="571065" y="877723"/>
                    <a:pt x="560013" y="849961"/>
                  </a:cubicBezTo>
                  <a:cubicBezTo>
                    <a:pt x="548962" y="861066"/>
                    <a:pt x="543436" y="872171"/>
                    <a:pt x="526858" y="877722"/>
                  </a:cubicBezTo>
                  <a:cubicBezTo>
                    <a:pt x="499229" y="888827"/>
                    <a:pt x="466074" y="877722"/>
                    <a:pt x="449496" y="849962"/>
                  </a:cubicBezTo>
                  <a:cubicBezTo>
                    <a:pt x="443969" y="861066"/>
                    <a:pt x="432918" y="872171"/>
                    <a:pt x="421866" y="877722"/>
                  </a:cubicBezTo>
                  <a:cubicBezTo>
                    <a:pt x="394237" y="888827"/>
                    <a:pt x="361081" y="877722"/>
                    <a:pt x="344504" y="849962"/>
                  </a:cubicBezTo>
                  <a:cubicBezTo>
                    <a:pt x="338979" y="861066"/>
                    <a:pt x="327926" y="872171"/>
                    <a:pt x="316874" y="877722"/>
                  </a:cubicBezTo>
                  <a:cubicBezTo>
                    <a:pt x="283719" y="888827"/>
                    <a:pt x="250564" y="877722"/>
                    <a:pt x="239512" y="849962"/>
                  </a:cubicBezTo>
                  <a:cubicBezTo>
                    <a:pt x="233986" y="861066"/>
                    <a:pt x="222935" y="872171"/>
                    <a:pt x="211883" y="877722"/>
                  </a:cubicBezTo>
                  <a:cubicBezTo>
                    <a:pt x="178727" y="888827"/>
                    <a:pt x="145572" y="877722"/>
                    <a:pt x="134520" y="855514"/>
                  </a:cubicBezTo>
                  <a:cubicBezTo>
                    <a:pt x="117942" y="872171"/>
                    <a:pt x="101365" y="888827"/>
                    <a:pt x="79261" y="894379"/>
                  </a:cubicBezTo>
                  <a:cubicBezTo>
                    <a:pt x="29528" y="899931"/>
                    <a:pt x="-9153" y="855514"/>
                    <a:pt x="1899" y="811096"/>
                  </a:cubicBezTo>
                  <a:cubicBezTo>
                    <a:pt x="7425" y="788887"/>
                    <a:pt x="24002" y="777783"/>
                    <a:pt x="40581" y="766679"/>
                  </a:cubicBezTo>
                  <a:cubicBezTo>
                    <a:pt x="18477" y="750021"/>
                    <a:pt x="7424" y="722261"/>
                    <a:pt x="18476" y="688947"/>
                  </a:cubicBezTo>
                  <a:cubicBezTo>
                    <a:pt x="24002" y="677842"/>
                    <a:pt x="29529" y="672291"/>
                    <a:pt x="40581" y="666738"/>
                  </a:cubicBezTo>
                  <a:cubicBezTo>
                    <a:pt x="40581" y="666733"/>
                    <a:pt x="40580" y="666671"/>
                    <a:pt x="40581" y="666044"/>
                  </a:cubicBezTo>
                  <a:lnTo>
                    <a:pt x="40581" y="661186"/>
                  </a:lnTo>
                  <a:cubicBezTo>
                    <a:pt x="18477" y="644529"/>
                    <a:pt x="7425" y="611216"/>
                    <a:pt x="18477" y="583455"/>
                  </a:cubicBezTo>
                  <a:cubicBezTo>
                    <a:pt x="24002" y="572350"/>
                    <a:pt x="29529" y="561246"/>
                    <a:pt x="40581" y="555694"/>
                  </a:cubicBezTo>
                  <a:cubicBezTo>
                    <a:pt x="18477" y="539037"/>
                    <a:pt x="7425" y="505724"/>
                    <a:pt x="18477" y="477962"/>
                  </a:cubicBezTo>
                  <a:cubicBezTo>
                    <a:pt x="24002" y="466858"/>
                    <a:pt x="29528" y="455754"/>
                    <a:pt x="40581" y="450202"/>
                  </a:cubicBezTo>
                  <a:cubicBezTo>
                    <a:pt x="40581" y="450192"/>
                    <a:pt x="40581" y="450124"/>
                    <a:pt x="40581" y="449508"/>
                  </a:cubicBezTo>
                  <a:lnTo>
                    <a:pt x="40581" y="444649"/>
                  </a:lnTo>
                  <a:cubicBezTo>
                    <a:pt x="18477" y="427993"/>
                    <a:pt x="7425" y="400232"/>
                    <a:pt x="18477" y="366919"/>
                  </a:cubicBezTo>
                  <a:cubicBezTo>
                    <a:pt x="24002" y="355814"/>
                    <a:pt x="29528" y="350262"/>
                    <a:pt x="40580" y="344710"/>
                  </a:cubicBezTo>
                  <a:cubicBezTo>
                    <a:pt x="40581" y="344703"/>
                    <a:pt x="40581" y="344638"/>
                    <a:pt x="40580" y="344015"/>
                  </a:cubicBezTo>
                  <a:lnTo>
                    <a:pt x="40581" y="339157"/>
                  </a:lnTo>
                  <a:cubicBezTo>
                    <a:pt x="18477" y="322501"/>
                    <a:pt x="7425" y="289187"/>
                    <a:pt x="18477" y="261426"/>
                  </a:cubicBezTo>
                  <a:cubicBezTo>
                    <a:pt x="24002" y="250322"/>
                    <a:pt x="29528" y="239217"/>
                    <a:pt x="40580" y="233665"/>
                  </a:cubicBezTo>
                  <a:cubicBezTo>
                    <a:pt x="18477" y="217009"/>
                    <a:pt x="7425" y="183695"/>
                    <a:pt x="18477" y="155934"/>
                  </a:cubicBezTo>
                  <a:cubicBezTo>
                    <a:pt x="24002" y="144830"/>
                    <a:pt x="29529" y="133725"/>
                    <a:pt x="40581" y="128173"/>
                  </a:cubicBezTo>
                  <a:cubicBezTo>
                    <a:pt x="24002" y="117068"/>
                    <a:pt x="7425" y="105964"/>
                    <a:pt x="1899" y="83755"/>
                  </a:cubicBezTo>
                  <a:cubicBezTo>
                    <a:pt x="-9153" y="39338"/>
                    <a:pt x="29529" y="-5081"/>
                    <a:pt x="79261" y="472"/>
                  </a:cubicBezTo>
                  <a:cubicBezTo>
                    <a:pt x="101365" y="6024"/>
                    <a:pt x="117943" y="17129"/>
                    <a:pt x="128994" y="33785"/>
                  </a:cubicBezTo>
                  <a:cubicBezTo>
                    <a:pt x="145572" y="6024"/>
                    <a:pt x="178727" y="-5081"/>
                    <a:pt x="211883" y="6024"/>
                  </a:cubicBezTo>
                  <a:cubicBezTo>
                    <a:pt x="222935" y="11576"/>
                    <a:pt x="233986" y="22681"/>
                    <a:pt x="239512" y="33785"/>
                  </a:cubicBezTo>
                  <a:cubicBezTo>
                    <a:pt x="250564" y="6025"/>
                    <a:pt x="283719" y="-5081"/>
                    <a:pt x="316874" y="6025"/>
                  </a:cubicBezTo>
                  <a:cubicBezTo>
                    <a:pt x="327926" y="11576"/>
                    <a:pt x="338978" y="22681"/>
                    <a:pt x="344504" y="33785"/>
                  </a:cubicBezTo>
                  <a:cubicBezTo>
                    <a:pt x="361081" y="6024"/>
                    <a:pt x="394237" y="-5081"/>
                    <a:pt x="421866" y="6025"/>
                  </a:cubicBezTo>
                  <a:cubicBezTo>
                    <a:pt x="432917" y="11576"/>
                    <a:pt x="443969" y="22681"/>
                    <a:pt x="449496" y="33785"/>
                  </a:cubicBezTo>
                  <a:cubicBezTo>
                    <a:pt x="466073" y="6024"/>
                    <a:pt x="499228" y="-5080"/>
                    <a:pt x="526858" y="6025"/>
                  </a:cubicBezTo>
                  <a:cubicBezTo>
                    <a:pt x="543435" y="11576"/>
                    <a:pt x="548962" y="22681"/>
                    <a:pt x="560013" y="33785"/>
                  </a:cubicBezTo>
                  <a:cubicBezTo>
                    <a:pt x="571064" y="6025"/>
                    <a:pt x="604221" y="-5081"/>
                    <a:pt x="637376" y="6025"/>
                  </a:cubicBezTo>
                  <a:cubicBezTo>
                    <a:pt x="648428" y="11576"/>
                    <a:pt x="659479" y="22681"/>
                    <a:pt x="665006" y="33785"/>
                  </a:cubicBezTo>
                  <a:cubicBezTo>
                    <a:pt x="681583" y="6024"/>
                    <a:pt x="714738" y="-5080"/>
                    <a:pt x="742367" y="6024"/>
                  </a:cubicBezTo>
                  <a:cubicBezTo>
                    <a:pt x="753419" y="11576"/>
                    <a:pt x="764471" y="22681"/>
                    <a:pt x="769996" y="33785"/>
                  </a:cubicBezTo>
                  <a:cubicBezTo>
                    <a:pt x="786574" y="6025"/>
                    <a:pt x="819730" y="-5080"/>
                    <a:pt x="852885" y="6024"/>
                  </a:cubicBezTo>
                  <a:cubicBezTo>
                    <a:pt x="863937" y="11576"/>
                    <a:pt x="869462" y="22681"/>
                    <a:pt x="880514" y="33785"/>
                  </a:cubicBezTo>
                  <a:cubicBezTo>
                    <a:pt x="891566" y="6025"/>
                    <a:pt x="924721" y="-5080"/>
                    <a:pt x="957877" y="6025"/>
                  </a:cubicBezTo>
                  <a:cubicBezTo>
                    <a:pt x="968928" y="11576"/>
                    <a:pt x="979980" y="22681"/>
                    <a:pt x="985507" y="33785"/>
                  </a:cubicBezTo>
                  <a:cubicBezTo>
                    <a:pt x="1002084" y="6024"/>
                    <a:pt x="1035239" y="-5080"/>
                    <a:pt x="1062868" y="6024"/>
                  </a:cubicBezTo>
                  <a:cubicBezTo>
                    <a:pt x="1073921" y="11576"/>
                    <a:pt x="1084973" y="22681"/>
                    <a:pt x="1090499" y="33786"/>
                  </a:cubicBezTo>
                  <a:cubicBezTo>
                    <a:pt x="1107075" y="17128"/>
                    <a:pt x="1123653" y="6025"/>
                    <a:pt x="1145757" y="472"/>
                  </a:cubicBezTo>
                  <a:cubicBezTo>
                    <a:pt x="1158190" y="-916"/>
                    <a:pt x="1169932" y="819"/>
                    <a:pt x="1180380" y="4896"/>
                  </a:cubicBezTo>
                  <a:close/>
                </a:path>
              </a:pathLst>
            </a:custGeom>
            <a:solidFill>
              <a:srgbClr val="F358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50" name="Rectangle 3"/>
          <p:cNvSpPr txBox="1">
            <a:spLocks noChangeArrowheads="1"/>
          </p:cNvSpPr>
          <p:nvPr userDrawn="1"/>
        </p:nvSpPr>
        <p:spPr>
          <a:xfrm>
            <a:off x="111369" y="36096"/>
            <a:ext cx="11627339" cy="697832"/>
          </a:xfrm>
          <a:prstGeom prst="rect">
            <a:avLst/>
          </a:prstGeom>
        </p:spPr>
        <p:txBody>
          <a:bodyPr lIns="87248" tIns="43624" rIns="87248" bIns="43624"/>
          <a:lstStyle>
            <a:lvl1pPr algn="l" defTabSz="455621" rtl="0" eaLnBrk="1" fontAlgn="base" latinLnBrk="0" hangingPunct="1">
              <a:spcBef>
                <a:spcPct val="0"/>
              </a:spcBef>
              <a:spcAft>
                <a:spcPct val="0"/>
              </a:spcAft>
              <a:buNone/>
              <a:defRPr lang="en-US" sz="3200" b="1" kern="1200" dirty="0">
                <a:solidFill>
                  <a:srgbClr val="002060"/>
                </a:solidFill>
                <a:latin typeface="+mj-lt"/>
                <a:ea typeface="ＭＳ Ｐゴシック" charset="-128"/>
                <a:cs typeface="Verdana" pitchFamily="34" charset="0"/>
              </a:defRPr>
            </a:lvl1pPr>
          </a:lstStyle>
          <a:p>
            <a:endParaRPr lang="en-US" sz="3200" dirty="0"/>
          </a:p>
        </p:txBody>
      </p:sp>
    </p:spTree>
    <p:extLst>
      <p:ext uri="{BB962C8B-B14F-4D97-AF65-F5344CB8AC3E}">
        <p14:creationId xmlns:p14="http://schemas.microsoft.com/office/powerpoint/2010/main" val="904311712"/>
      </p:ext>
    </p:extLst>
  </p:cSld>
  <p:clrMap bg1="lt1" tx1="dk1" bg2="lt2" tx2="dk2" accent1="accent1" accent2="accent2" accent3="accent3" accent4="accent4" accent5="accent5" accent6="accent6" hlink="hlink" folHlink="folHlink"/>
  <p:sldLayoutIdLst>
    <p:sldLayoutId id="2147483660" r:id="rId1"/>
    <p:sldLayoutId id="2147483661" r:id="rId2"/>
  </p:sldLayoutIdLst>
  <p:hf hdr="0" ftr="0" dt="0"/>
  <p:txStyles>
    <p:titleStyle>
      <a:lvl1pPr algn="l" defTabSz="455621" rtl="0" eaLnBrk="1" fontAlgn="base" latinLnBrk="0" hangingPunct="1">
        <a:spcBef>
          <a:spcPct val="0"/>
        </a:spcBef>
        <a:spcAft>
          <a:spcPct val="0"/>
        </a:spcAft>
        <a:buNone/>
        <a:defRPr lang="en-US" sz="3200" b="1" kern="1200" dirty="0">
          <a:solidFill>
            <a:srgbClr val="002060"/>
          </a:solidFill>
          <a:latin typeface="+mj-lt"/>
          <a:ea typeface="ＭＳ Ｐゴシック" charset="-128"/>
          <a:cs typeface="Verdana" pitchFamily="34" charset="0"/>
        </a:defRPr>
      </a:lvl1pPr>
    </p:titleStyle>
    <p:bodyStyle>
      <a:lvl1pPr marL="285750" indent="-285750" algn="l" defTabSz="914186" rtl="0" eaLnBrk="1" latinLnBrk="0" hangingPunct="1">
        <a:lnSpc>
          <a:spcPct val="90000"/>
        </a:lnSpc>
        <a:spcBef>
          <a:spcPct val="20000"/>
        </a:spcBef>
        <a:buFont typeface="Arial" pitchFamily="34" charset="0"/>
        <a:buChar char="•"/>
        <a:defRPr lang="en-US" sz="1400" kern="1200" dirty="0" smtClean="0">
          <a:solidFill>
            <a:schemeClr val="accent4">
              <a:lumMod val="50000"/>
            </a:schemeClr>
          </a:solidFill>
          <a:latin typeface="+mn-lt"/>
          <a:ea typeface="+mn-ea"/>
          <a:cs typeface="Arial" pitchFamily="34" charset="0"/>
        </a:defRPr>
      </a:lvl1pPr>
      <a:lvl2pPr marL="285750" indent="-285750" algn="l" defTabSz="914186" rtl="0" eaLnBrk="1" latinLnBrk="0" hangingPunct="1">
        <a:lnSpc>
          <a:spcPct val="90000"/>
        </a:lnSpc>
        <a:spcBef>
          <a:spcPct val="20000"/>
        </a:spcBef>
        <a:buFont typeface="Arial" pitchFamily="34" charset="0"/>
        <a:buChar char="•"/>
        <a:defRPr lang="en-US" sz="1400" kern="1200" dirty="0" smtClean="0">
          <a:solidFill>
            <a:schemeClr val="accent4">
              <a:lumMod val="50000"/>
            </a:schemeClr>
          </a:solidFill>
          <a:latin typeface="+mn-lt"/>
          <a:ea typeface="+mn-ea"/>
          <a:cs typeface="Arial" pitchFamily="34" charset="0"/>
        </a:defRPr>
      </a:lvl2pPr>
      <a:lvl3pPr marL="285750" indent="-285750" algn="l" defTabSz="914186" rtl="0" eaLnBrk="1" latinLnBrk="0" hangingPunct="1">
        <a:lnSpc>
          <a:spcPct val="90000"/>
        </a:lnSpc>
        <a:spcBef>
          <a:spcPct val="20000"/>
        </a:spcBef>
        <a:buFont typeface="Arial" pitchFamily="34" charset="0"/>
        <a:buChar char="•"/>
        <a:defRPr lang="en-US" sz="1400" kern="1200" dirty="0" smtClean="0">
          <a:solidFill>
            <a:schemeClr val="accent4">
              <a:lumMod val="50000"/>
            </a:schemeClr>
          </a:solidFill>
          <a:latin typeface="+mn-lt"/>
          <a:ea typeface="+mn-ea"/>
          <a:cs typeface="Arial" pitchFamily="34" charset="0"/>
        </a:defRPr>
      </a:lvl3pPr>
      <a:lvl4pPr marL="285750" indent="-285750" algn="l" defTabSz="914186" rtl="0" eaLnBrk="1" latinLnBrk="0" hangingPunct="1">
        <a:lnSpc>
          <a:spcPct val="90000"/>
        </a:lnSpc>
        <a:spcBef>
          <a:spcPct val="20000"/>
        </a:spcBef>
        <a:buFont typeface="Arial" pitchFamily="34" charset="0"/>
        <a:buChar char="•"/>
        <a:defRPr lang="en-US" sz="1400" kern="1200" dirty="0" smtClean="0">
          <a:solidFill>
            <a:schemeClr val="accent4">
              <a:lumMod val="50000"/>
            </a:schemeClr>
          </a:solidFill>
          <a:latin typeface="+mn-lt"/>
          <a:ea typeface="+mn-ea"/>
          <a:cs typeface="Arial" pitchFamily="34" charset="0"/>
        </a:defRPr>
      </a:lvl4pPr>
      <a:lvl5pPr marL="285750" indent="-285750" algn="l" defTabSz="914186" rtl="0" eaLnBrk="1" latinLnBrk="0" hangingPunct="1">
        <a:lnSpc>
          <a:spcPct val="90000"/>
        </a:lnSpc>
        <a:spcBef>
          <a:spcPct val="20000"/>
        </a:spcBef>
        <a:buFont typeface="Arial" pitchFamily="34" charset="0"/>
        <a:buChar char="•"/>
        <a:defRPr lang="en-US" sz="1400" kern="1200" dirty="0">
          <a:solidFill>
            <a:schemeClr val="accent4">
              <a:lumMod val="50000"/>
            </a:schemeClr>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AE7BE06-97D6-454A-84C7-DB1A3763AAD3}"/>
              </a:ext>
            </a:extLst>
          </p:cNvPr>
          <p:cNvGraphicFramePr>
            <a:graphicFrameLocks noChangeAspect="1"/>
          </p:cNvGraphicFramePr>
          <p:nvPr userDrawn="1">
            <p:custDataLst>
              <p:tags r:id="rId15"/>
            </p:custDataLst>
            <p:extLst>
              <p:ext uri="{D42A27DB-BD31-4B8C-83A1-F6EECF244321}">
                <p14:modId xmlns:p14="http://schemas.microsoft.com/office/powerpoint/2010/main" val="3386670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6" progId="TCLayout.ActiveDocument.1">
                  <p:embed/>
                </p:oleObj>
              </mc:Choice>
              <mc:Fallback>
                <p:oleObj name="think-cell Slide" r:id="rId16" imgW="395" imgH="396" progId="TCLayout.ActiveDocument.1">
                  <p:embed/>
                  <p:pic>
                    <p:nvPicPr>
                      <p:cNvPr id="10" name="Object 9" hidden="1">
                        <a:extLst>
                          <a:ext uri="{FF2B5EF4-FFF2-40B4-BE49-F238E27FC236}">
                            <a16:creationId xmlns:a16="http://schemas.microsoft.com/office/drawing/2014/main" id="{7AE7BE06-97D6-454A-84C7-DB1A3763AAD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CCA294E-7561-482B-B486-1C09D59B0EC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B8A120B-DE43-4102-A6F8-09A89A1B64F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B29C809-14BD-4274-8705-549C7251B55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56F3F2-AA82-4075-A628-ECFF0FC36765}" type="datetimeFigureOut">
              <a:rPr lang="en-GB" smtClean="0"/>
              <a:t>08/07/2022</a:t>
            </a:fld>
            <a:endParaRPr lang="en-GB"/>
          </a:p>
        </p:txBody>
      </p:sp>
      <p:sp>
        <p:nvSpPr>
          <p:cNvPr id="5" name="Footer Placeholder 4">
            <a:extLst>
              <a:ext uri="{FF2B5EF4-FFF2-40B4-BE49-F238E27FC236}">
                <a16:creationId xmlns:a16="http://schemas.microsoft.com/office/drawing/2014/main" id="{6FCAF559-5FD2-4317-9B95-23382D28026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5C384D40-AB6F-43FA-8FC3-CD5DCDF23C2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350204B-17B5-4E7D-A831-866B33A6AB18}" type="slidenum">
              <a:rPr lang="en-GB" smtClean="0"/>
              <a:t>‹#›</a:t>
            </a:fld>
            <a:endParaRPr lang="en-GB"/>
          </a:p>
        </p:txBody>
      </p:sp>
    </p:spTree>
    <p:extLst>
      <p:ext uri="{BB962C8B-B14F-4D97-AF65-F5344CB8AC3E}">
        <p14:creationId xmlns:p14="http://schemas.microsoft.com/office/powerpoint/2010/main" val="3002232278"/>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6" Type="http://schemas.openxmlformats.org/officeDocument/2006/relationships/tags" Target="../tags/tag26.xml"/><Relationship Id="rId117" Type="http://schemas.openxmlformats.org/officeDocument/2006/relationships/tags" Target="../tags/tag117.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38" Type="http://schemas.openxmlformats.org/officeDocument/2006/relationships/tags" Target="../tags/tag138.xml"/><Relationship Id="rId154" Type="http://schemas.openxmlformats.org/officeDocument/2006/relationships/oleObject" Target="../embeddings/oleObject2.bin"/><Relationship Id="rId16" Type="http://schemas.openxmlformats.org/officeDocument/2006/relationships/tags" Target="../tags/tag16.xml"/><Relationship Id="rId107" Type="http://schemas.openxmlformats.org/officeDocument/2006/relationships/tags" Target="../tags/tag107.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28" Type="http://schemas.openxmlformats.org/officeDocument/2006/relationships/tags" Target="../tags/tag128.xml"/><Relationship Id="rId144" Type="http://schemas.openxmlformats.org/officeDocument/2006/relationships/tags" Target="../tags/tag144.xml"/><Relationship Id="rId149" Type="http://schemas.openxmlformats.org/officeDocument/2006/relationships/tags" Target="../tags/tag149.xml"/><Relationship Id="rId5" Type="http://schemas.openxmlformats.org/officeDocument/2006/relationships/tags" Target="../tags/tag5.xml"/><Relationship Id="rId90" Type="http://schemas.openxmlformats.org/officeDocument/2006/relationships/tags" Target="../tags/tag90.xml"/><Relationship Id="rId95" Type="http://schemas.openxmlformats.org/officeDocument/2006/relationships/tags" Target="../tags/tag95.xml"/><Relationship Id="rId22" Type="http://schemas.openxmlformats.org/officeDocument/2006/relationships/tags" Target="../tags/tag22.xml"/><Relationship Id="rId27" Type="http://schemas.openxmlformats.org/officeDocument/2006/relationships/tags" Target="../tags/tag27.xml"/><Relationship Id="rId43" Type="http://schemas.openxmlformats.org/officeDocument/2006/relationships/tags" Target="../tags/tag43.xml"/><Relationship Id="rId48" Type="http://schemas.openxmlformats.org/officeDocument/2006/relationships/tags" Target="../tags/tag48.xml"/><Relationship Id="rId64" Type="http://schemas.openxmlformats.org/officeDocument/2006/relationships/tags" Target="../tags/tag64.xml"/><Relationship Id="rId69" Type="http://schemas.openxmlformats.org/officeDocument/2006/relationships/tags" Target="../tags/tag69.xml"/><Relationship Id="rId113" Type="http://schemas.openxmlformats.org/officeDocument/2006/relationships/tags" Target="../tags/tag113.xml"/><Relationship Id="rId118" Type="http://schemas.openxmlformats.org/officeDocument/2006/relationships/tags" Target="../tags/tag118.xml"/><Relationship Id="rId134" Type="http://schemas.openxmlformats.org/officeDocument/2006/relationships/tags" Target="../tags/tag134.xml"/><Relationship Id="rId139" Type="http://schemas.openxmlformats.org/officeDocument/2006/relationships/tags" Target="../tags/tag139.xml"/><Relationship Id="rId80" Type="http://schemas.openxmlformats.org/officeDocument/2006/relationships/tags" Target="../tags/tag80.xml"/><Relationship Id="rId85" Type="http://schemas.openxmlformats.org/officeDocument/2006/relationships/tags" Target="../tags/tag85.xml"/><Relationship Id="rId150" Type="http://schemas.openxmlformats.org/officeDocument/2006/relationships/tags" Target="../tags/tag150.xml"/><Relationship Id="rId155" Type="http://schemas.openxmlformats.org/officeDocument/2006/relationships/image" Target="../media/image3.emf"/><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103" Type="http://schemas.openxmlformats.org/officeDocument/2006/relationships/tags" Target="../tags/tag103.xml"/><Relationship Id="rId108" Type="http://schemas.openxmlformats.org/officeDocument/2006/relationships/tags" Target="../tags/tag108.xml"/><Relationship Id="rId116" Type="http://schemas.openxmlformats.org/officeDocument/2006/relationships/tags" Target="../tags/tag116.xml"/><Relationship Id="rId124" Type="http://schemas.openxmlformats.org/officeDocument/2006/relationships/tags" Target="../tags/tag124.xml"/><Relationship Id="rId129" Type="http://schemas.openxmlformats.org/officeDocument/2006/relationships/tags" Target="../tags/tag129.xml"/><Relationship Id="rId137" Type="http://schemas.openxmlformats.org/officeDocument/2006/relationships/tags" Target="../tags/tag13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96" Type="http://schemas.openxmlformats.org/officeDocument/2006/relationships/tags" Target="../tags/tag96.xml"/><Relationship Id="rId111" Type="http://schemas.openxmlformats.org/officeDocument/2006/relationships/tags" Target="../tags/tag111.xml"/><Relationship Id="rId132" Type="http://schemas.openxmlformats.org/officeDocument/2006/relationships/tags" Target="../tags/tag132.xml"/><Relationship Id="rId140" Type="http://schemas.openxmlformats.org/officeDocument/2006/relationships/tags" Target="../tags/tag140.xml"/><Relationship Id="rId145" Type="http://schemas.openxmlformats.org/officeDocument/2006/relationships/tags" Target="../tags/tag145.xml"/><Relationship Id="rId153" Type="http://schemas.openxmlformats.org/officeDocument/2006/relationships/notesSlide" Target="../notesSlides/notesSlide2.xml"/><Relationship Id="rId1" Type="http://schemas.openxmlformats.org/officeDocument/2006/relationships/themeOverride" Target="../theme/themeOverride2.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6" Type="http://schemas.openxmlformats.org/officeDocument/2006/relationships/tags" Target="../tags/tag106.xml"/><Relationship Id="rId114" Type="http://schemas.openxmlformats.org/officeDocument/2006/relationships/tags" Target="../tags/tag114.xml"/><Relationship Id="rId119" Type="http://schemas.openxmlformats.org/officeDocument/2006/relationships/tags" Target="../tags/tag119.xml"/><Relationship Id="rId127" Type="http://schemas.openxmlformats.org/officeDocument/2006/relationships/tags" Target="../tags/tag12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30" Type="http://schemas.openxmlformats.org/officeDocument/2006/relationships/tags" Target="../tags/tag130.xml"/><Relationship Id="rId135" Type="http://schemas.openxmlformats.org/officeDocument/2006/relationships/tags" Target="../tags/tag135.xml"/><Relationship Id="rId143" Type="http://schemas.openxmlformats.org/officeDocument/2006/relationships/tags" Target="../tags/tag143.xml"/><Relationship Id="rId148" Type="http://schemas.openxmlformats.org/officeDocument/2006/relationships/tags" Target="../tags/tag148.xml"/><Relationship Id="rId151" Type="http://schemas.openxmlformats.org/officeDocument/2006/relationships/tags" Target="../tags/tag151.xml"/><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109" Type="http://schemas.openxmlformats.org/officeDocument/2006/relationships/tags" Target="../tags/tag10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04" Type="http://schemas.openxmlformats.org/officeDocument/2006/relationships/tags" Target="../tags/tag104.xml"/><Relationship Id="rId120" Type="http://schemas.openxmlformats.org/officeDocument/2006/relationships/tags" Target="../tags/tag120.xml"/><Relationship Id="rId125" Type="http://schemas.openxmlformats.org/officeDocument/2006/relationships/tags" Target="../tags/tag125.xml"/><Relationship Id="rId141" Type="http://schemas.openxmlformats.org/officeDocument/2006/relationships/tags" Target="../tags/tag141.xml"/><Relationship Id="rId146" Type="http://schemas.openxmlformats.org/officeDocument/2006/relationships/tags" Target="../tags/tag146.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tags" Target="../tags/tag92.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15" Type="http://schemas.openxmlformats.org/officeDocument/2006/relationships/tags" Target="../tags/tag115.xml"/><Relationship Id="rId131" Type="http://schemas.openxmlformats.org/officeDocument/2006/relationships/tags" Target="../tags/tag131.xml"/><Relationship Id="rId136" Type="http://schemas.openxmlformats.org/officeDocument/2006/relationships/tags" Target="../tags/tag136.xml"/><Relationship Id="rId61" Type="http://schemas.openxmlformats.org/officeDocument/2006/relationships/tags" Target="../tags/tag61.xml"/><Relationship Id="rId82" Type="http://schemas.openxmlformats.org/officeDocument/2006/relationships/tags" Target="../tags/tag82.xml"/><Relationship Id="rId152" Type="http://schemas.openxmlformats.org/officeDocument/2006/relationships/slideLayout" Target="../slideLayouts/slideLayout8.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3" Type="http://schemas.openxmlformats.org/officeDocument/2006/relationships/tags" Target="../tags/tag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3"/>
          <p:cNvSpPr txBox="1">
            <a:spLocks noChangeArrowheads="1"/>
          </p:cNvSpPr>
          <p:nvPr/>
        </p:nvSpPr>
        <p:spPr bwMode="auto">
          <a:xfrm>
            <a:off x="731520" y="548640"/>
            <a:ext cx="10668000"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r>
              <a:rPr lang="en-US" sz="3200" b="1" dirty="0">
                <a:latin typeface="Calibri" panose="020F0502020204030204" pitchFamily="34" charset="0"/>
                <a:ea typeface="Verdana" pitchFamily="34" charset="0"/>
                <a:cs typeface="Calibri" panose="020F0502020204030204" pitchFamily="34" charset="0"/>
              </a:rPr>
              <a:t>Program Charter</a:t>
            </a:r>
          </a:p>
          <a:p>
            <a:endParaRPr lang="en-US" sz="1600" dirty="0">
              <a:latin typeface="Calibri" panose="020F0502020204030204" pitchFamily="34" charset="0"/>
              <a:ea typeface="Verdana" pitchFamily="34" charset="0"/>
              <a:cs typeface="Calibri" panose="020F0502020204030204" pitchFamily="34" charset="0"/>
            </a:endParaRPr>
          </a:p>
          <a:p>
            <a:r>
              <a:rPr lang="en-US" sz="2800" b="1" dirty="0">
                <a:latin typeface="Calibri" panose="020F0502020204030204" pitchFamily="34" charset="0"/>
                <a:ea typeface="Verdana" pitchFamily="34" charset="0"/>
                <a:cs typeface="Calibri" panose="020F0502020204030204" pitchFamily="34" charset="0"/>
              </a:rPr>
              <a:t> MuleSoft Pilot</a:t>
            </a:r>
          </a:p>
          <a:p>
            <a:endParaRPr lang="en-US" sz="1400" b="1" dirty="0">
              <a:latin typeface="Calibri" panose="020F0502020204030204" pitchFamily="34" charset="0"/>
              <a:ea typeface="Verdana" pitchFamily="34" charset="0"/>
              <a:cs typeface="Calibri" panose="020F0502020204030204" pitchFamily="34" charset="0"/>
            </a:endParaRPr>
          </a:p>
        </p:txBody>
      </p:sp>
      <p:grpSp>
        <p:nvGrpSpPr>
          <p:cNvPr id="9" name="Group 6"/>
          <p:cNvGrpSpPr>
            <a:grpSpLocks/>
          </p:cNvGrpSpPr>
          <p:nvPr/>
        </p:nvGrpSpPr>
        <p:grpSpPr bwMode="auto">
          <a:xfrm>
            <a:off x="4596909" y="4259363"/>
            <a:ext cx="6080125" cy="2574925"/>
            <a:chOff x="3107483" y="4325496"/>
            <a:chExt cx="6078914" cy="2574629"/>
          </a:xfrm>
        </p:grpSpPr>
        <p:sp>
          <p:nvSpPr>
            <p:cNvPr id="10" name="Freeform 45"/>
            <p:cNvSpPr>
              <a:spLocks/>
            </p:cNvSpPr>
            <p:nvPr/>
          </p:nvSpPr>
          <p:spPr bwMode="ltGray">
            <a:xfrm rot="20386052">
              <a:off x="6932596" y="5689001"/>
              <a:ext cx="1798279" cy="1133345"/>
            </a:xfrm>
            <a:custGeom>
              <a:avLst/>
              <a:gdLst/>
              <a:ahLst/>
              <a:cxnLst/>
              <a:rect l="l" t="t" r="r" b="b"/>
              <a:pathLst>
                <a:path w="1798616" h="1132118">
                  <a:moveTo>
                    <a:pt x="1570446" y="265994"/>
                  </a:moveTo>
                  <a:cubicBezTo>
                    <a:pt x="1553847" y="257312"/>
                    <a:pt x="1535812" y="251538"/>
                    <a:pt x="1517224" y="249324"/>
                  </a:cubicBezTo>
                  <a:cubicBezTo>
                    <a:pt x="1492442" y="246370"/>
                    <a:pt x="1466677" y="249746"/>
                    <a:pt x="1442037" y="260995"/>
                  </a:cubicBezTo>
                  <a:cubicBezTo>
                    <a:pt x="1415153" y="269996"/>
                    <a:pt x="1406192" y="287995"/>
                    <a:pt x="1388269" y="305995"/>
                  </a:cubicBezTo>
                  <a:cubicBezTo>
                    <a:pt x="1388269" y="422993"/>
                    <a:pt x="1388269" y="548990"/>
                    <a:pt x="1370347" y="647988"/>
                  </a:cubicBezTo>
                  <a:cubicBezTo>
                    <a:pt x="1504763" y="638990"/>
                    <a:pt x="1657101" y="548990"/>
                    <a:pt x="1657101" y="404994"/>
                  </a:cubicBezTo>
                  <a:cubicBezTo>
                    <a:pt x="1657101" y="344245"/>
                    <a:pt x="1620243" y="292038"/>
                    <a:pt x="1570446" y="265994"/>
                  </a:cubicBezTo>
                  <a:close/>
                  <a:moveTo>
                    <a:pt x="1387647" y="0"/>
                  </a:moveTo>
                  <a:cubicBezTo>
                    <a:pt x="1387648" y="17969"/>
                    <a:pt x="1387647" y="71880"/>
                    <a:pt x="1387647" y="125790"/>
                  </a:cubicBezTo>
                  <a:cubicBezTo>
                    <a:pt x="1423384" y="107821"/>
                    <a:pt x="1459119" y="98836"/>
                    <a:pt x="1503792" y="98836"/>
                  </a:cubicBezTo>
                  <a:cubicBezTo>
                    <a:pt x="1584199" y="98836"/>
                    <a:pt x="1655670" y="134777"/>
                    <a:pt x="1709276" y="188685"/>
                  </a:cubicBezTo>
                  <a:cubicBezTo>
                    <a:pt x="1771815" y="251583"/>
                    <a:pt x="1798616" y="323462"/>
                    <a:pt x="1798616" y="404327"/>
                  </a:cubicBezTo>
                  <a:cubicBezTo>
                    <a:pt x="1798616" y="628954"/>
                    <a:pt x="1575263" y="790685"/>
                    <a:pt x="1369779" y="790685"/>
                  </a:cubicBezTo>
                  <a:cubicBezTo>
                    <a:pt x="1351911" y="790685"/>
                    <a:pt x="1342977" y="781700"/>
                    <a:pt x="1334042" y="781701"/>
                  </a:cubicBezTo>
                  <a:cubicBezTo>
                    <a:pt x="1226833" y="1033282"/>
                    <a:pt x="1039217" y="1132118"/>
                    <a:pt x="762259" y="1132118"/>
                  </a:cubicBezTo>
                  <a:cubicBezTo>
                    <a:pt x="762220" y="1132118"/>
                    <a:pt x="728032" y="1132118"/>
                    <a:pt x="693050" y="1132118"/>
                  </a:cubicBezTo>
                  <a:lnTo>
                    <a:pt x="137779" y="927461"/>
                  </a:lnTo>
                  <a:cubicBezTo>
                    <a:pt x="98994" y="877616"/>
                    <a:pt x="66142" y="817322"/>
                    <a:pt x="38597" y="745759"/>
                  </a:cubicBezTo>
                  <a:cubicBezTo>
                    <a:pt x="-14999" y="602023"/>
                    <a:pt x="2853" y="194"/>
                    <a:pt x="2860" y="0"/>
                  </a:cubicBezTo>
                  <a:cubicBezTo>
                    <a:pt x="2880" y="0"/>
                    <a:pt x="8189" y="0"/>
                    <a:pt x="1387647" y="0"/>
                  </a:cubicBezTo>
                  <a:close/>
                </a:path>
              </a:pathLst>
            </a:custGeom>
            <a:solidFill>
              <a:srgbClr val="BAC405"/>
            </a:solidFill>
            <a:ln>
              <a:noFill/>
            </a:ln>
          </p:spPr>
          <p:txBody>
            <a:bodyPr/>
            <a:lstStyle/>
            <a:p>
              <a:pPr>
                <a:defRPr/>
              </a:pPr>
              <a:endParaRPr lang="en-US" kern="0" dirty="0">
                <a:solidFill>
                  <a:sysClr val="windowText" lastClr="000000"/>
                </a:solidFill>
                <a:latin typeface="Arial"/>
              </a:endParaRPr>
            </a:p>
          </p:txBody>
        </p:sp>
        <p:sp>
          <p:nvSpPr>
            <p:cNvPr id="11" name="Freeform 159"/>
            <p:cNvSpPr>
              <a:spLocks/>
            </p:cNvSpPr>
            <p:nvPr/>
          </p:nvSpPr>
          <p:spPr bwMode="ltGray">
            <a:xfrm rot="20390831">
              <a:off x="7215115" y="4871533"/>
              <a:ext cx="757086" cy="700007"/>
            </a:xfrm>
            <a:custGeom>
              <a:avLst/>
              <a:gdLst>
                <a:gd name="T0" fmla="*/ 3 w 124"/>
                <a:gd name="T1" fmla="*/ 115 h 115"/>
                <a:gd name="T2" fmla="*/ 11 w 124"/>
                <a:gd name="T3" fmla="*/ 95 h 115"/>
                <a:gd name="T4" fmla="*/ 40 w 124"/>
                <a:gd name="T5" fmla="*/ 81 h 115"/>
                <a:gd name="T6" fmla="*/ 67 w 124"/>
                <a:gd name="T7" fmla="*/ 87 h 115"/>
                <a:gd name="T8" fmla="*/ 107 w 124"/>
                <a:gd name="T9" fmla="*/ 71 h 115"/>
                <a:gd name="T10" fmla="*/ 79 w 124"/>
                <a:gd name="T11" fmla="*/ 7 h 115"/>
                <a:gd name="T12" fmla="*/ 1 w 124"/>
                <a:gd name="T13" fmla="*/ 80 h 115"/>
                <a:gd name="T14" fmla="*/ 3 w 124"/>
                <a:gd name="T15" fmla="*/ 115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115">
                  <a:moveTo>
                    <a:pt x="3" y="115"/>
                  </a:moveTo>
                  <a:cubicBezTo>
                    <a:pt x="3" y="107"/>
                    <a:pt x="8" y="99"/>
                    <a:pt x="11" y="95"/>
                  </a:cubicBezTo>
                  <a:cubicBezTo>
                    <a:pt x="18" y="86"/>
                    <a:pt x="28" y="80"/>
                    <a:pt x="40" y="81"/>
                  </a:cubicBezTo>
                  <a:cubicBezTo>
                    <a:pt x="49" y="82"/>
                    <a:pt x="58" y="86"/>
                    <a:pt x="67" y="87"/>
                  </a:cubicBezTo>
                  <a:cubicBezTo>
                    <a:pt x="82" y="89"/>
                    <a:pt x="98" y="84"/>
                    <a:pt x="107" y="71"/>
                  </a:cubicBezTo>
                  <a:cubicBezTo>
                    <a:pt x="124" y="46"/>
                    <a:pt x="108" y="12"/>
                    <a:pt x="79" y="7"/>
                  </a:cubicBezTo>
                  <a:cubicBezTo>
                    <a:pt x="37" y="0"/>
                    <a:pt x="3" y="43"/>
                    <a:pt x="1" y="80"/>
                  </a:cubicBezTo>
                  <a:cubicBezTo>
                    <a:pt x="0" y="91"/>
                    <a:pt x="0" y="103"/>
                    <a:pt x="3" y="115"/>
                  </a:cubicBezTo>
                </a:path>
              </a:pathLst>
            </a:custGeom>
            <a:solidFill>
              <a:srgbClr val="BAC405"/>
            </a:solidFill>
            <a:ln>
              <a:noFill/>
            </a:ln>
          </p:spPr>
          <p:txBody>
            <a:bodyPr/>
            <a:lstStyle/>
            <a:p>
              <a:pPr>
                <a:defRPr/>
              </a:pPr>
              <a:endParaRPr lang="en-US" kern="0" dirty="0">
                <a:solidFill>
                  <a:sysClr val="windowText" lastClr="000000"/>
                </a:solidFill>
                <a:latin typeface="Arial"/>
              </a:endParaRPr>
            </a:p>
          </p:txBody>
        </p:sp>
        <p:sp>
          <p:nvSpPr>
            <p:cNvPr id="19" name="Freeform 160"/>
            <p:cNvSpPr>
              <a:spLocks/>
            </p:cNvSpPr>
            <p:nvPr/>
          </p:nvSpPr>
          <p:spPr bwMode="ltGray">
            <a:xfrm rot="20390831">
              <a:off x="6811970" y="5420745"/>
              <a:ext cx="428540" cy="414289"/>
            </a:xfrm>
            <a:custGeom>
              <a:avLst/>
              <a:gdLst>
                <a:gd name="T0" fmla="*/ 70 w 70"/>
                <a:gd name="T1" fmla="*/ 61 h 68"/>
                <a:gd name="T2" fmla="*/ 57 w 70"/>
                <a:gd name="T3" fmla="*/ 58 h 68"/>
                <a:gd name="T4" fmla="*/ 47 w 70"/>
                <a:gd name="T5" fmla="*/ 43 h 68"/>
                <a:gd name="T6" fmla="*/ 47 w 70"/>
                <a:gd name="T7" fmla="*/ 27 h 68"/>
                <a:gd name="T8" fmla="*/ 33 w 70"/>
                <a:gd name="T9" fmla="*/ 7 h 68"/>
                <a:gd name="T10" fmla="*/ 0 w 70"/>
                <a:gd name="T11" fmla="*/ 30 h 68"/>
                <a:gd name="T12" fmla="*/ 50 w 70"/>
                <a:gd name="T13" fmla="*/ 66 h 68"/>
                <a:gd name="T14" fmla="*/ 70 w 70"/>
                <a:gd name="T15" fmla="*/ 61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8">
                  <a:moveTo>
                    <a:pt x="70" y="61"/>
                  </a:moveTo>
                  <a:cubicBezTo>
                    <a:pt x="65" y="61"/>
                    <a:pt x="60" y="60"/>
                    <a:pt x="57" y="58"/>
                  </a:cubicBezTo>
                  <a:cubicBezTo>
                    <a:pt x="52" y="55"/>
                    <a:pt x="47" y="50"/>
                    <a:pt x="47" y="43"/>
                  </a:cubicBezTo>
                  <a:cubicBezTo>
                    <a:pt x="46" y="38"/>
                    <a:pt x="47" y="33"/>
                    <a:pt x="47" y="27"/>
                  </a:cubicBezTo>
                  <a:cubicBezTo>
                    <a:pt x="46" y="19"/>
                    <a:pt x="42" y="10"/>
                    <a:pt x="33" y="7"/>
                  </a:cubicBezTo>
                  <a:cubicBezTo>
                    <a:pt x="17" y="0"/>
                    <a:pt x="0" y="13"/>
                    <a:pt x="0" y="30"/>
                  </a:cubicBezTo>
                  <a:cubicBezTo>
                    <a:pt x="1" y="54"/>
                    <a:pt x="29" y="68"/>
                    <a:pt x="50" y="66"/>
                  </a:cubicBezTo>
                  <a:cubicBezTo>
                    <a:pt x="57" y="65"/>
                    <a:pt x="63" y="63"/>
                    <a:pt x="70" y="61"/>
                  </a:cubicBezTo>
                </a:path>
              </a:pathLst>
            </a:custGeom>
            <a:solidFill>
              <a:srgbClr val="BAC405"/>
            </a:solidFill>
            <a:ln>
              <a:noFill/>
            </a:ln>
          </p:spPr>
          <p:txBody>
            <a:bodyPr/>
            <a:lstStyle/>
            <a:p>
              <a:pPr>
                <a:defRPr/>
              </a:pPr>
              <a:endParaRPr lang="en-US" kern="0" dirty="0">
                <a:solidFill>
                  <a:sysClr val="windowText" lastClr="000000"/>
                </a:solidFill>
                <a:latin typeface="Arial"/>
              </a:endParaRPr>
            </a:p>
          </p:txBody>
        </p:sp>
        <p:sp>
          <p:nvSpPr>
            <p:cNvPr id="20" name="Freeform 5"/>
            <p:cNvSpPr>
              <a:spLocks/>
            </p:cNvSpPr>
            <p:nvPr/>
          </p:nvSpPr>
          <p:spPr bwMode="ltGray">
            <a:xfrm rot="20457630">
              <a:off x="4239145" y="5493762"/>
              <a:ext cx="453935" cy="330162"/>
            </a:xfrm>
            <a:custGeom>
              <a:avLst/>
              <a:gdLst/>
              <a:ahLst/>
              <a:cxnLst/>
              <a:rect l="l" t="t" r="r" b="b"/>
              <a:pathLst>
                <a:path w="1362354" h="995174">
                  <a:moveTo>
                    <a:pt x="1126472" y="742063"/>
                  </a:moveTo>
                  <a:cubicBezTo>
                    <a:pt x="1102799" y="742063"/>
                    <a:pt x="1083609" y="761253"/>
                    <a:pt x="1083609" y="784926"/>
                  </a:cubicBezTo>
                  <a:cubicBezTo>
                    <a:pt x="1083609" y="808599"/>
                    <a:pt x="1102799" y="827789"/>
                    <a:pt x="1126472" y="827789"/>
                  </a:cubicBezTo>
                  <a:cubicBezTo>
                    <a:pt x="1150145" y="827789"/>
                    <a:pt x="1169335" y="808599"/>
                    <a:pt x="1169335" y="784926"/>
                  </a:cubicBezTo>
                  <a:cubicBezTo>
                    <a:pt x="1169335" y="761253"/>
                    <a:pt x="1150145" y="742063"/>
                    <a:pt x="1126472" y="742063"/>
                  </a:cubicBezTo>
                  <a:close/>
                  <a:moveTo>
                    <a:pt x="908984" y="742063"/>
                  </a:moveTo>
                  <a:cubicBezTo>
                    <a:pt x="883558" y="742063"/>
                    <a:pt x="862946" y="761253"/>
                    <a:pt x="862946" y="784926"/>
                  </a:cubicBezTo>
                  <a:cubicBezTo>
                    <a:pt x="862946" y="808599"/>
                    <a:pt x="883558" y="827789"/>
                    <a:pt x="908984" y="827789"/>
                  </a:cubicBezTo>
                  <a:cubicBezTo>
                    <a:pt x="934410" y="827789"/>
                    <a:pt x="955022" y="808599"/>
                    <a:pt x="955022" y="784926"/>
                  </a:cubicBezTo>
                  <a:cubicBezTo>
                    <a:pt x="955022" y="761253"/>
                    <a:pt x="934410" y="742063"/>
                    <a:pt x="908984" y="742063"/>
                  </a:cubicBezTo>
                  <a:close/>
                  <a:moveTo>
                    <a:pt x="689909" y="742063"/>
                  </a:moveTo>
                  <a:cubicBezTo>
                    <a:pt x="666236" y="742063"/>
                    <a:pt x="647046" y="761253"/>
                    <a:pt x="647046" y="784926"/>
                  </a:cubicBezTo>
                  <a:cubicBezTo>
                    <a:pt x="647046" y="808599"/>
                    <a:pt x="666236" y="827789"/>
                    <a:pt x="689909" y="827789"/>
                  </a:cubicBezTo>
                  <a:cubicBezTo>
                    <a:pt x="713582" y="827789"/>
                    <a:pt x="732772" y="808599"/>
                    <a:pt x="732772" y="784926"/>
                  </a:cubicBezTo>
                  <a:cubicBezTo>
                    <a:pt x="732772" y="761253"/>
                    <a:pt x="713582" y="742063"/>
                    <a:pt x="689909" y="742063"/>
                  </a:cubicBezTo>
                  <a:close/>
                  <a:moveTo>
                    <a:pt x="472422" y="742063"/>
                  </a:moveTo>
                  <a:cubicBezTo>
                    <a:pt x="446996" y="742063"/>
                    <a:pt x="426384" y="761253"/>
                    <a:pt x="426384" y="784926"/>
                  </a:cubicBezTo>
                  <a:cubicBezTo>
                    <a:pt x="426384" y="808599"/>
                    <a:pt x="446996" y="827789"/>
                    <a:pt x="472422" y="827789"/>
                  </a:cubicBezTo>
                  <a:cubicBezTo>
                    <a:pt x="497848" y="827789"/>
                    <a:pt x="518460" y="808599"/>
                    <a:pt x="518460" y="784926"/>
                  </a:cubicBezTo>
                  <a:cubicBezTo>
                    <a:pt x="518460" y="761253"/>
                    <a:pt x="497848" y="742063"/>
                    <a:pt x="472422" y="742063"/>
                  </a:cubicBezTo>
                  <a:close/>
                  <a:moveTo>
                    <a:pt x="258109" y="742063"/>
                  </a:moveTo>
                  <a:cubicBezTo>
                    <a:pt x="232683" y="742063"/>
                    <a:pt x="212071" y="761253"/>
                    <a:pt x="212071" y="784926"/>
                  </a:cubicBezTo>
                  <a:cubicBezTo>
                    <a:pt x="212071" y="808599"/>
                    <a:pt x="232683" y="827789"/>
                    <a:pt x="258109" y="827789"/>
                  </a:cubicBezTo>
                  <a:cubicBezTo>
                    <a:pt x="283535" y="827789"/>
                    <a:pt x="304147" y="808599"/>
                    <a:pt x="304147" y="784926"/>
                  </a:cubicBezTo>
                  <a:cubicBezTo>
                    <a:pt x="304147" y="761253"/>
                    <a:pt x="283535" y="742063"/>
                    <a:pt x="258109" y="742063"/>
                  </a:cubicBezTo>
                  <a:close/>
                  <a:moveTo>
                    <a:pt x="1126472" y="549975"/>
                  </a:moveTo>
                  <a:cubicBezTo>
                    <a:pt x="1102799" y="549975"/>
                    <a:pt x="1083609" y="569521"/>
                    <a:pt x="1083609" y="593632"/>
                  </a:cubicBezTo>
                  <a:cubicBezTo>
                    <a:pt x="1083609" y="617743"/>
                    <a:pt x="1102799" y="637289"/>
                    <a:pt x="1126472" y="637289"/>
                  </a:cubicBezTo>
                  <a:cubicBezTo>
                    <a:pt x="1150145" y="637289"/>
                    <a:pt x="1169335" y="617743"/>
                    <a:pt x="1169335" y="593632"/>
                  </a:cubicBezTo>
                  <a:cubicBezTo>
                    <a:pt x="1169335" y="569521"/>
                    <a:pt x="1150145" y="549975"/>
                    <a:pt x="1126472" y="549975"/>
                  </a:cubicBezTo>
                  <a:close/>
                  <a:moveTo>
                    <a:pt x="908984" y="549975"/>
                  </a:moveTo>
                  <a:cubicBezTo>
                    <a:pt x="883558" y="549975"/>
                    <a:pt x="862946" y="569521"/>
                    <a:pt x="862946" y="593632"/>
                  </a:cubicBezTo>
                  <a:cubicBezTo>
                    <a:pt x="862946" y="617743"/>
                    <a:pt x="883558" y="637289"/>
                    <a:pt x="908984" y="637289"/>
                  </a:cubicBezTo>
                  <a:cubicBezTo>
                    <a:pt x="934410" y="637289"/>
                    <a:pt x="955022" y="617743"/>
                    <a:pt x="955022" y="593632"/>
                  </a:cubicBezTo>
                  <a:cubicBezTo>
                    <a:pt x="955022" y="569521"/>
                    <a:pt x="934410" y="549975"/>
                    <a:pt x="908984" y="549975"/>
                  </a:cubicBezTo>
                  <a:close/>
                  <a:moveTo>
                    <a:pt x="689909" y="549975"/>
                  </a:moveTo>
                  <a:cubicBezTo>
                    <a:pt x="666236" y="549975"/>
                    <a:pt x="647046" y="569521"/>
                    <a:pt x="647046" y="593632"/>
                  </a:cubicBezTo>
                  <a:cubicBezTo>
                    <a:pt x="647046" y="617743"/>
                    <a:pt x="666236" y="637289"/>
                    <a:pt x="689909" y="637289"/>
                  </a:cubicBezTo>
                  <a:cubicBezTo>
                    <a:pt x="713582" y="637289"/>
                    <a:pt x="732772" y="617743"/>
                    <a:pt x="732772" y="593632"/>
                  </a:cubicBezTo>
                  <a:cubicBezTo>
                    <a:pt x="732772" y="569521"/>
                    <a:pt x="713582" y="549975"/>
                    <a:pt x="689909" y="549975"/>
                  </a:cubicBezTo>
                  <a:close/>
                  <a:moveTo>
                    <a:pt x="472422" y="549975"/>
                  </a:moveTo>
                  <a:cubicBezTo>
                    <a:pt x="446996" y="549975"/>
                    <a:pt x="426384" y="569521"/>
                    <a:pt x="426384" y="593632"/>
                  </a:cubicBezTo>
                  <a:cubicBezTo>
                    <a:pt x="426384" y="617743"/>
                    <a:pt x="446996" y="637289"/>
                    <a:pt x="472422" y="637289"/>
                  </a:cubicBezTo>
                  <a:cubicBezTo>
                    <a:pt x="497848" y="637289"/>
                    <a:pt x="518460" y="617743"/>
                    <a:pt x="518460" y="593632"/>
                  </a:cubicBezTo>
                  <a:cubicBezTo>
                    <a:pt x="518460" y="569521"/>
                    <a:pt x="497848" y="549975"/>
                    <a:pt x="472422" y="549975"/>
                  </a:cubicBezTo>
                  <a:close/>
                  <a:moveTo>
                    <a:pt x="258109" y="549975"/>
                  </a:moveTo>
                  <a:cubicBezTo>
                    <a:pt x="232683" y="549975"/>
                    <a:pt x="212071" y="569521"/>
                    <a:pt x="212071" y="593632"/>
                  </a:cubicBezTo>
                  <a:cubicBezTo>
                    <a:pt x="212071" y="617743"/>
                    <a:pt x="232683" y="637289"/>
                    <a:pt x="258109" y="637289"/>
                  </a:cubicBezTo>
                  <a:cubicBezTo>
                    <a:pt x="283535" y="637289"/>
                    <a:pt x="304147" y="617743"/>
                    <a:pt x="304147" y="593632"/>
                  </a:cubicBezTo>
                  <a:cubicBezTo>
                    <a:pt x="304147" y="569521"/>
                    <a:pt x="283535" y="549975"/>
                    <a:pt x="258109" y="549975"/>
                  </a:cubicBezTo>
                  <a:close/>
                  <a:moveTo>
                    <a:pt x="1126472" y="359475"/>
                  </a:moveTo>
                  <a:cubicBezTo>
                    <a:pt x="1102799" y="359475"/>
                    <a:pt x="1083609" y="378665"/>
                    <a:pt x="1083609" y="402338"/>
                  </a:cubicBezTo>
                  <a:cubicBezTo>
                    <a:pt x="1083609" y="426011"/>
                    <a:pt x="1102799" y="445201"/>
                    <a:pt x="1126472" y="445201"/>
                  </a:cubicBezTo>
                  <a:cubicBezTo>
                    <a:pt x="1150145" y="445201"/>
                    <a:pt x="1169335" y="426011"/>
                    <a:pt x="1169335" y="402338"/>
                  </a:cubicBezTo>
                  <a:cubicBezTo>
                    <a:pt x="1169335" y="378665"/>
                    <a:pt x="1150145" y="359475"/>
                    <a:pt x="1126472" y="359475"/>
                  </a:cubicBezTo>
                  <a:close/>
                  <a:moveTo>
                    <a:pt x="908984" y="359475"/>
                  </a:moveTo>
                  <a:cubicBezTo>
                    <a:pt x="883558" y="359475"/>
                    <a:pt x="862946" y="378665"/>
                    <a:pt x="862946" y="402338"/>
                  </a:cubicBezTo>
                  <a:cubicBezTo>
                    <a:pt x="862946" y="426011"/>
                    <a:pt x="883558" y="445201"/>
                    <a:pt x="908984" y="445201"/>
                  </a:cubicBezTo>
                  <a:cubicBezTo>
                    <a:pt x="934410" y="445201"/>
                    <a:pt x="955022" y="426011"/>
                    <a:pt x="955022" y="402338"/>
                  </a:cubicBezTo>
                  <a:cubicBezTo>
                    <a:pt x="955022" y="378665"/>
                    <a:pt x="934410" y="359475"/>
                    <a:pt x="908984" y="359475"/>
                  </a:cubicBezTo>
                  <a:close/>
                  <a:moveTo>
                    <a:pt x="689909" y="359475"/>
                  </a:moveTo>
                  <a:cubicBezTo>
                    <a:pt x="666236" y="359475"/>
                    <a:pt x="647046" y="378665"/>
                    <a:pt x="647046" y="402338"/>
                  </a:cubicBezTo>
                  <a:cubicBezTo>
                    <a:pt x="647046" y="426011"/>
                    <a:pt x="666236" y="445201"/>
                    <a:pt x="689909" y="445201"/>
                  </a:cubicBezTo>
                  <a:cubicBezTo>
                    <a:pt x="713582" y="445201"/>
                    <a:pt x="732772" y="426011"/>
                    <a:pt x="732772" y="402338"/>
                  </a:cubicBezTo>
                  <a:cubicBezTo>
                    <a:pt x="732772" y="378665"/>
                    <a:pt x="713582" y="359475"/>
                    <a:pt x="689909" y="359475"/>
                  </a:cubicBezTo>
                  <a:close/>
                  <a:moveTo>
                    <a:pt x="472422" y="359475"/>
                  </a:moveTo>
                  <a:cubicBezTo>
                    <a:pt x="446996" y="359475"/>
                    <a:pt x="426384" y="378665"/>
                    <a:pt x="426384" y="402338"/>
                  </a:cubicBezTo>
                  <a:cubicBezTo>
                    <a:pt x="426384" y="426011"/>
                    <a:pt x="446996" y="445201"/>
                    <a:pt x="472422" y="445201"/>
                  </a:cubicBezTo>
                  <a:cubicBezTo>
                    <a:pt x="497848" y="445201"/>
                    <a:pt x="518460" y="426011"/>
                    <a:pt x="518460" y="402338"/>
                  </a:cubicBezTo>
                  <a:cubicBezTo>
                    <a:pt x="518460" y="378665"/>
                    <a:pt x="497848" y="359475"/>
                    <a:pt x="472422" y="359475"/>
                  </a:cubicBezTo>
                  <a:close/>
                  <a:moveTo>
                    <a:pt x="258109" y="359475"/>
                  </a:moveTo>
                  <a:cubicBezTo>
                    <a:pt x="232683" y="359475"/>
                    <a:pt x="212071" y="378665"/>
                    <a:pt x="212071" y="402338"/>
                  </a:cubicBezTo>
                  <a:cubicBezTo>
                    <a:pt x="212071" y="426011"/>
                    <a:pt x="232683" y="445201"/>
                    <a:pt x="258109" y="445201"/>
                  </a:cubicBezTo>
                  <a:cubicBezTo>
                    <a:pt x="283535" y="445201"/>
                    <a:pt x="304147" y="426011"/>
                    <a:pt x="304147" y="402338"/>
                  </a:cubicBezTo>
                  <a:cubicBezTo>
                    <a:pt x="304147" y="378665"/>
                    <a:pt x="283535" y="359475"/>
                    <a:pt x="258109" y="359475"/>
                  </a:cubicBezTo>
                  <a:close/>
                  <a:moveTo>
                    <a:pt x="1126472" y="161038"/>
                  </a:moveTo>
                  <a:cubicBezTo>
                    <a:pt x="1102799" y="161038"/>
                    <a:pt x="1083609" y="181650"/>
                    <a:pt x="1083609" y="207076"/>
                  </a:cubicBezTo>
                  <a:cubicBezTo>
                    <a:pt x="1083609" y="232502"/>
                    <a:pt x="1102799" y="253114"/>
                    <a:pt x="1126472" y="253114"/>
                  </a:cubicBezTo>
                  <a:cubicBezTo>
                    <a:pt x="1150145" y="253114"/>
                    <a:pt x="1169335" y="232502"/>
                    <a:pt x="1169335" y="207076"/>
                  </a:cubicBezTo>
                  <a:cubicBezTo>
                    <a:pt x="1169335" y="181650"/>
                    <a:pt x="1150145" y="161038"/>
                    <a:pt x="1126472" y="161038"/>
                  </a:cubicBezTo>
                  <a:close/>
                  <a:moveTo>
                    <a:pt x="908984" y="161038"/>
                  </a:moveTo>
                  <a:cubicBezTo>
                    <a:pt x="883558" y="161038"/>
                    <a:pt x="862946" y="181650"/>
                    <a:pt x="862946" y="207076"/>
                  </a:cubicBezTo>
                  <a:cubicBezTo>
                    <a:pt x="862946" y="232502"/>
                    <a:pt x="883558" y="253114"/>
                    <a:pt x="908984" y="253114"/>
                  </a:cubicBezTo>
                  <a:cubicBezTo>
                    <a:pt x="934410" y="253114"/>
                    <a:pt x="955022" y="232502"/>
                    <a:pt x="955022" y="207076"/>
                  </a:cubicBezTo>
                  <a:cubicBezTo>
                    <a:pt x="955022" y="181650"/>
                    <a:pt x="934410" y="161038"/>
                    <a:pt x="908984" y="161038"/>
                  </a:cubicBezTo>
                  <a:close/>
                  <a:moveTo>
                    <a:pt x="689909" y="161038"/>
                  </a:moveTo>
                  <a:cubicBezTo>
                    <a:pt x="666236" y="161038"/>
                    <a:pt x="647046" y="181650"/>
                    <a:pt x="647046" y="207076"/>
                  </a:cubicBezTo>
                  <a:cubicBezTo>
                    <a:pt x="647046" y="232502"/>
                    <a:pt x="666236" y="253114"/>
                    <a:pt x="689909" y="253114"/>
                  </a:cubicBezTo>
                  <a:cubicBezTo>
                    <a:pt x="713582" y="253114"/>
                    <a:pt x="732772" y="232502"/>
                    <a:pt x="732772" y="207076"/>
                  </a:cubicBezTo>
                  <a:cubicBezTo>
                    <a:pt x="732772" y="181650"/>
                    <a:pt x="713582" y="161038"/>
                    <a:pt x="689909" y="161038"/>
                  </a:cubicBezTo>
                  <a:close/>
                  <a:moveTo>
                    <a:pt x="472422" y="161038"/>
                  </a:moveTo>
                  <a:cubicBezTo>
                    <a:pt x="446996" y="161038"/>
                    <a:pt x="426384" y="181650"/>
                    <a:pt x="426384" y="207076"/>
                  </a:cubicBezTo>
                  <a:cubicBezTo>
                    <a:pt x="426384" y="232502"/>
                    <a:pt x="446996" y="253114"/>
                    <a:pt x="472422" y="253114"/>
                  </a:cubicBezTo>
                  <a:cubicBezTo>
                    <a:pt x="497848" y="253114"/>
                    <a:pt x="518460" y="232502"/>
                    <a:pt x="518460" y="207076"/>
                  </a:cubicBezTo>
                  <a:cubicBezTo>
                    <a:pt x="518460" y="181650"/>
                    <a:pt x="497848" y="161038"/>
                    <a:pt x="472422" y="161038"/>
                  </a:cubicBezTo>
                  <a:close/>
                  <a:moveTo>
                    <a:pt x="258109" y="161038"/>
                  </a:moveTo>
                  <a:cubicBezTo>
                    <a:pt x="232683" y="161038"/>
                    <a:pt x="212071" y="181650"/>
                    <a:pt x="212071" y="207076"/>
                  </a:cubicBezTo>
                  <a:cubicBezTo>
                    <a:pt x="212071" y="232502"/>
                    <a:pt x="232683" y="253114"/>
                    <a:pt x="258109" y="253114"/>
                  </a:cubicBezTo>
                  <a:cubicBezTo>
                    <a:pt x="283535" y="253114"/>
                    <a:pt x="304147" y="232502"/>
                    <a:pt x="304147" y="207076"/>
                  </a:cubicBezTo>
                  <a:cubicBezTo>
                    <a:pt x="304147" y="181650"/>
                    <a:pt x="283535" y="161038"/>
                    <a:pt x="258109" y="161038"/>
                  </a:cubicBezTo>
                  <a:close/>
                  <a:moveTo>
                    <a:pt x="88147" y="525"/>
                  </a:moveTo>
                  <a:cubicBezTo>
                    <a:pt x="112729" y="6700"/>
                    <a:pt x="131165" y="19049"/>
                    <a:pt x="143456" y="37573"/>
                  </a:cubicBezTo>
                  <a:cubicBezTo>
                    <a:pt x="161892" y="6700"/>
                    <a:pt x="198764" y="-5650"/>
                    <a:pt x="235637" y="6700"/>
                  </a:cubicBezTo>
                  <a:cubicBezTo>
                    <a:pt x="247928" y="12874"/>
                    <a:pt x="260218" y="25224"/>
                    <a:pt x="266364" y="37573"/>
                  </a:cubicBezTo>
                  <a:cubicBezTo>
                    <a:pt x="278655" y="6700"/>
                    <a:pt x="315527" y="-5650"/>
                    <a:pt x="352399" y="6700"/>
                  </a:cubicBezTo>
                  <a:cubicBezTo>
                    <a:pt x="364690" y="12874"/>
                    <a:pt x="376981" y="25224"/>
                    <a:pt x="383126" y="37573"/>
                  </a:cubicBezTo>
                  <a:cubicBezTo>
                    <a:pt x="401562" y="6700"/>
                    <a:pt x="438435" y="-5650"/>
                    <a:pt x="469162" y="6700"/>
                  </a:cubicBezTo>
                  <a:cubicBezTo>
                    <a:pt x="481452" y="12874"/>
                    <a:pt x="493743" y="25224"/>
                    <a:pt x="499889" y="37573"/>
                  </a:cubicBezTo>
                  <a:cubicBezTo>
                    <a:pt x="518325" y="6700"/>
                    <a:pt x="555197" y="-5650"/>
                    <a:pt x="585924" y="6700"/>
                  </a:cubicBezTo>
                  <a:cubicBezTo>
                    <a:pt x="604360" y="12874"/>
                    <a:pt x="610506" y="25224"/>
                    <a:pt x="622796" y="37573"/>
                  </a:cubicBezTo>
                  <a:cubicBezTo>
                    <a:pt x="635087" y="6700"/>
                    <a:pt x="671960" y="-5650"/>
                    <a:pt x="708832" y="6700"/>
                  </a:cubicBezTo>
                  <a:cubicBezTo>
                    <a:pt x="721123" y="12874"/>
                    <a:pt x="733413" y="25224"/>
                    <a:pt x="739559" y="37573"/>
                  </a:cubicBezTo>
                  <a:cubicBezTo>
                    <a:pt x="757995" y="6700"/>
                    <a:pt x="794867" y="-5650"/>
                    <a:pt x="825594" y="6700"/>
                  </a:cubicBezTo>
                  <a:cubicBezTo>
                    <a:pt x="837885" y="12874"/>
                    <a:pt x="850176" y="25224"/>
                    <a:pt x="856321" y="37573"/>
                  </a:cubicBezTo>
                  <a:cubicBezTo>
                    <a:pt x="874757" y="6700"/>
                    <a:pt x="911630" y="-5650"/>
                    <a:pt x="948502" y="6700"/>
                  </a:cubicBezTo>
                  <a:cubicBezTo>
                    <a:pt x="960793" y="12874"/>
                    <a:pt x="966938" y="25224"/>
                    <a:pt x="979229" y="37573"/>
                  </a:cubicBezTo>
                  <a:cubicBezTo>
                    <a:pt x="991520" y="6700"/>
                    <a:pt x="1028392" y="-5650"/>
                    <a:pt x="1065265" y="6700"/>
                  </a:cubicBezTo>
                  <a:cubicBezTo>
                    <a:pt x="1077555" y="12874"/>
                    <a:pt x="1089846" y="25224"/>
                    <a:pt x="1095992" y="37573"/>
                  </a:cubicBezTo>
                  <a:cubicBezTo>
                    <a:pt x="1114428" y="6700"/>
                    <a:pt x="1151300" y="-5650"/>
                    <a:pt x="1182027" y="6700"/>
                  </a:cubicBezTo>
                  <a:cubicBezTo>
                    <a:pt x="1194318" y="12874"/>
                    <a:pt x="1206609" y="25224"/>
                    <a:pt x="1212754" y="37573"/>
                  </a:cubicBezTo>
                  <a:cubicBezTo>
                    <a:pt x="1231190" y="19049"/>
                    <a:pt x="1249626" y="6700"/>
                    <a:pt x="1274208" y="525"/>
                  </a:cubicBezTo>
                  <a:cubicBezTo>
                    <a:pt x="1329516" y="-5650"/>
                    <a:pt x="1372534" y="43748"/>
                    <a:pt x="1360243" y="93145"/>
                  </a:cubicBezTo>
                  <a:cubicBezTo>
                    <a:pt x="1354098" y="117844"/>
                    <a:pt x="1335662" y="130193"/>
                    <a:pt x="1317226" y="142543"/>
                  </a:cubicBezTo>
                  <a:cubicBezTo>
                    <a:pt x="1329516" y="148717"/>
                    <a:pt x="1335662" y="161067"/>
                    <a:pt x="1341807" y="173416"/>
                  </a:cubicBezTo>
                  <a:cubicBezTo>
                    <a:pt x="1360243" y="204290"/>
                    <a:pt x="1341807" y="241338"/>
                    <a:pt x="1317226" y="259862"/>
                  </a:cubicBezTo>
                  <a:cubicBezTo>
                    <a:pt x="1329516" y="266037"/>
                    <a:pt x="1335662" y="278386"/>
                    <a:pt x="1341807" y="290735"/>
                  </a:cubicBezTo>
                  <a:cubicBezTo>
                    <a:pt x="1360243" y="327784"/>
                    <a:pt x="1341807" y="358657"/>
                    <a:pt x="1317226" y="377181"/>
                  </a:cubicBezTo>
                  <a:cubicBezTo>
                    <a:pt x="1317226" y="377193"/>
                    <a:pt x="1317226" y="377275"/>
                    <a:pt x="1317226" y="377953"/>
                  </a:cubicBezTo>
                  <a:lnTo>
                    <a:pt x="1317226" y="383356"/>
                  </a:lnTo>
                  <a:cubicBezTo>
                    <a:pt x="1329516" y="389531"/>
                    <a:pt x="1335662" y="395705"/>
                    <a:pt x="1341807" y="408055"/>
                  </a:cubicBezTo>
                  <a:cubicBezTo>
                    <a:pt x="1360243" y="445103"/>
                    <a:pt x="1341807" y="482151"/>
                    <a:pt x="1317226" y="494500"/>
                  </a:cubicBezTo>
                  <a:cubicBezTo>
                    <a:pt x="1317226" y="494512"/>
                    <a:pt x="1317226" y="494591"/>
                    <a:pt x="1317226" y="495272"/>
                  </a:cubicBezTo>
                  <a:lnTo>
                    <a:pt x="1317226" y="500675"/>
                  </a:lnTo>
                  <a:cubicBezTo>
                    <a:pt x="1329516" y="506850"/>
                    <a:pt x="1335662" y="519199"/>
                    <a:pt x="1341807" y="531548"/>
                  </a:cubicBezTo>
                  <a:cubicBezTo>
                    <a:pt x="1360243" y="562422"/>
                    <a:pt x="1341807" y="599470"/>
                    <a:pt x="1317226" y="617994"/>
                  </a:cubicBezTo>
                  <a:cubicBezTo>
                    <a:pt x="1329516" y="624169"/>
                    <a:pt x="1335662" y="636518"/>
                    <a:pt x="1341807" y="648868"/>
                  </a:cubicBezTo>
                  <a:cubicBezTo>
                    <a:pt x="1360243" y="685916"/>
                    <a:pt x="1341807" y="716789"/>
                    <a:pt x="1317226" y="735313"/>
                  </a:cubicBezTo>
                  <a:cubicBezTo>
                    <a:pt x="1317226" y="735325"/>
                    <a:pt x="1317226" y="735405"/>
                    <a:pt x="1317226" y="736085"/>
                  </a:cubicBezTo>
                  <a:lnTo>
                    <a:pt x="1317226" y="741488"/>
                  </a:lnTo>
                  <a:cubicBezTo>
                    <a:pt x="1329516" y="747663"/>
                    <a:pt x="1335662" y="753837"/>
                    <a:pt x="1341807" y="766187"/>
                  </a:cubicBezTo>
                  <a:cubicBezTo>
                    <a:pt x="1360243" y="803235"/>
                    <a:pt x="1341807" y="840283"/>
                    <a:pt x="1317226" y="852633"/>
                  </a:cubicBezTo>
                  <a:cubicBezTo>
                    <a:pt x="1335662" y="864982"/>
                    <a:pt x="1354098" y="877331"/>
                    <a:pt x="1360243" y="902030"/>
                  </a:cubicBezTo>
                  <a:cubicBezTo>
                    <a:pt x="1372534" y="951428"/>
                    <a:pt x="1329516" y="1000825"/>
                    <a:pt x="1274208" y="994650"/>
                  </a:cubicBezTo>
                  <a:cubicBezTo>
                    <a:pt x="1249626" y="988476"/>
                    <a:pt x="1231190" y="969952"/>
                    <a:pt x="1212754" y="945253"/>
                  </a:cubicBezTo>
                  <a:cubicBezTo>
                    <a:pt x="1206609" y="957602"/>
                    <a:pt x="1194318" y="969952"/>
                    <a:pt x="1182027" y="976126"/>
                  </a:cubicBezTo>
                  <a:cubicBezTo>
                    <a:pt x="1151300" y="988476"/>
                    <a:pt x="1114428" y="976126"/>
                    <a:pt x="1095992" y="945253"/>
                  </a:cubicBezTo>
                  <a:cubicBezTo>
                    <a:pt x="1089846" y="957602"/>
                    <a:pt x="1077555" y="969952"/>
                    <a:pt x="1065265" y="976126"/>
                  </a:cubicBezTo>
                  <a:cubicBezTo>
                    <a:pt x="1028392" y="988476"/>
                    <a:pt x="991520" y="976126"/>
                    <a:pt x="979229" y="945253"/>
                  </a:cubicBezTo>
                  <a:cubicBezTo>
                    <a:pt x="966938" y="957602"/>
                    <a:pt x="960793" y="969952"/>
                    <a:pt x="948502" y="976126"/>
                  </a:cubicBezTo>
                  <a:cubicBezTo>
                    <a:pt x="911630" y="988476"/>
                    <a:pt x="874757" y="976126"/>
                    <a:pt x="856321" y="945253"/>
                  </a:cubicBezTo>
                  <a:cubicBezTo>
                    <a:pt x="850176" y="957602"/>
                    <a:pt x="837885" y="969952"/>
                    <a:pt x="825594" y="976126"/>
                  </a:cubicBezTo>
                  <a:cubicBezTo>
                    <a:pt x="794867" y="988476"/>
                    <a:pt x="757995" y="976126"/>
                    <a:pt x="739559" y="945253"/>
                  </a:cubicBezTo>
                  <a:cubicBezTo>
                    <a:pt x="733413" y="957602"/>
                    <a:pt x="721123" y="969952"/>
                    <a:pt x="708832" y="976126"/>
                  </a:cubicBezTo>
                  <a:cubicBezTo>
                    <a:pt x="671960" y="988476"/>
                    <a:pt x="635087" y="976126"/>
                    <a:pt x="622796" y="945253"/>
                  </a:cubicBezTo>
                  <a:cubicBezTo>
                    <a:pt x="610506" y="957602"/>
                    <a:pt x="604360" y="969952"/>
                    <a:pt x="585924" y="976126"/>
                  </a:cubicBezTo>
                  <a:cubicBezTo>
                    <a:pt x="555197" y="988476"/>
                    <a:pt x="518325" y="976126"/>
                    <a:pt x="499889" y="945253"/>
                  </a:cubicBezTo>
                  <a:cubicBezTo>
                    <a:pt x="493743" y="957602"/>
                    <a:pt x="481452" y="969952"/>
                    <a:pt x="469162" y="976126"/>
                  </a:cubicBezTo>
                  <a:cubicBezTo>
                    <a:pt x="438435" y="988476"/>
                    <a:pt x="401562" y="976126"/>
                    <a:pt x="383126" y="945253"/>
                  </a:cubicBezTo>
                  <a:cubicBezTo>
                    <a:pt x="376981" y="957602"/>
                    <a:pt x="364690" y="969952"/>
                    <a:pt x="352399" y="976126"/>
                  </a:cubicBezTo>
                  <a:cubicBezTo>
                    <a:pt x="315527" y="988476"/>
                    <a:pt x="278655" y="976126"/>
                    <a:pt x="266364" y="945253"/>
                  </a:cubicBezTo>
                  <a:cubicBezTo>
                    <a:pt x="260218" y="957602"/>
                    <a:pt x="247928" y="969952"/>
                    <a:pt x="235637" y="976126"/>
                  </a:cubicBezTo>
                  <a:cubicBezTo>
                    <a:pt x="198764" y="988476"/>
                    <a:pt x="161892" y="976126"/>
                    <a:pt x="149601" y="951428"/>
                  </a:cubicBezTo>
                  <a:cubicBezTo>
                    <a:pt x="131165" y="969952"/>
                    <a:pt x="112729" y="988476"/>
                    <a:pt x="88147" y="994650"/>
                  </a:cubicBezTo>
                  <a:cubicBezTo>
                    <a:pt x="32839" y="1000825"/>
                    <a:pt x="-10179" y="951428"/>
                    <a:pt x="2112" y="902030"/>
                  </a:cubicBezTo>
                  <a:cubicBezTo>
                    <a:pt x="8257" y="877331"/>
                    <a:pt x="26693" y="864982"/>
                    <a:pt x="45130" y="852633"/>
                  </a:cubicBezTo>
                  <a:cubicBezTo>
                    <a:pt x="20548" y="834108"/>
                    <a:pt x="8257" y="803235"/>
                    <a:pt x="20548" y="766187"/>
                  </a:cubicBezTo>
                  <a:cubicBezTo>
                    <a:pt x="26693" y="753837"/>
                    <a:pt x="32839" y="747663"/>
                    <a:pt x="45130" y="741488"/>
                  </a:cubicBezTo>
                  <a:cubicBezTo>
                    <a:pt x="45130" y="741483"/>
                    <a:pt x="45130" y="741419"/>
                    <a:pt x="45130" y="740716"/>
                  </a:cubicBezTo>
                  <a:lnTo>
                    <a:pt x="45130" y="735313"/>
                  </a:lnTo>
                  <a:cubicBezTo>
                    <a:pt x="20548" y="716789"/>
                    <a:pt x="8257" y="679741"/>
                    <a:pt x="20548" y="648868"/>
                  </a:cubicBezTo>
                  <a:cubicBezTo>
                    <a:pt x="26693" y="636518"/>
                    <a:pt x="32839" y="624169"/>
                    <a:pt x="45130" y="617994"/>
                  </a:cubicBezTo>
                  <a:cubicBezTo>
                    <a:pt x="20548" y="599470"/>
                    <a:pt x="8257" y="562422"/>
                    <a:pt x="20548" y="531548"/>
                  </a:cubicBezTo>
                  <a:cubicBezTo>
                    <a:pt x="26693" y="519199"/>
                    <a:pt x="32839" y="506850"/>
                    <a:pt x="45130" y="500675"/>
                  </a:cubicBezTo>
                  <a:cubicBezTo>
                    <a:pt x="45130" y="500665"/>
                    <a:pt x="45130" y="500590"/>
                    <a:pt x="45130" y="499903"/>
                  </a:cubicBezTo>
                  <a:lnTo>
                    <a:pt x="45130" y="494500"/>
                  </a:lnTo>
                  <a:cubicBezTo>
                    <a:pt x="20548" y="475976"/>
                    <a:pt x="8257" y="445103"/>
                    <a:pt x="20548" y="408055"/>
                  </a:cubicBezTo>
                  <a:cubicBezTo>
                    <a:pt x="26693" y="395705"/>
                    <a:pt x="32839" y="389531"/>
                    <a:pt x="45130" y="383356"/>
                  </a:cubicBezTo>
                  <a:cubicBezTo>
                    <a:pt x="45130" y="383349"/>
                    <a:pt x="45130" y="383279"/>
                    <a:pt x="45130" y="382584"/>
                  </a:cubicBezTo>
                  <a:lnTo>
                    <a:pt x="45130" y="377181"/>
                  </a:lnTo>
                  <a:cubicBezTo>
                    <a:pt x="20548" y="358657"/>
                    <a:pt x="8257" y="321609"/>
                    <a:pt x="20548" y="290735"/>
                  </a:cubicBezTo>
                  <a:cubicBezTo>
                    <a:pt x="26693" y="278386"/>
                    <a:pt x="32839" y="266037"/>
                    <a:pt x="45130" y="259862"/>
                  </a:cubicBezTo>
                  <a:cubicBezTo>
                    <a:pt x="20548" y="241338"/>
                    <a:pt x="8257" y="204290"/>
                    <a:pt x="20548" y="173416"/>
                  </a:cubicBezTo>
                  <a:cubicBezTo>
                    <a:pt x="26693" y="161067"/>
                    <a:pt x="32839" y="148717"/>
                    <a:pt x="45130" y="142543"/>
                  </a:cubicBezTo>
                  <a:cubicBezTo>
                    <a:pt x="26693" y="130193"/>
                    <a:pt x="8257" y="117844"/>
                    <a:pt x="2112" y="93145"/>
                  </a:cubicBezTo>
                  <a:cubicBezTo>
                    <a:pt x="-10179" y="43748"/>
                    <a:pt x="32839" y="-5650"/>
                    <a:pt x="88147" y="525"/>
                  </a:cubicBezTo>
                  <a:close/>
                </a:path>
              </a:pathLst>
            </a:custGeom>
            <a:solidFill>
              <a:srgbClr val="0036A3"/>
            </a:solidFill>
            <a:ln>
              <a:noFill/>
            </a:ln>
          </p:spPr>
          <p:txBody>
            <a:bodyPr/>
            <a:lstStyle/>
            <a:p>
              <a:pPr>
                <a:defRPr/>
              </a:pPr>
              <a:endParaRPr lang="en-US" kern="0" dirty="0">
                <a:solidFill>
                  <a:sysClr val="windowText" lastClr="000000"/>
                </a:solidFill>
                <a:latin typeface="Arial"/>
              </a:endParaRPr>
            </a:p>
          </p:txBody>
        </p:sp>
        <p:grpSp>
          <p:nvGrpSpPr>
            <p:cNvPr id="21" name="Group 20"/>
            <p:cNvGrpSpPr/>
            <p:nvPr/>
          </p:nvGrpSpPr>
          <p:grpSpPr bwMode="ltGray">
            <a:xfrm rot="900450">
              <a:off x="5231048" y="4850016"/>
              <a:ext cx="909192" cy="707151"/>
              <a:chOff x="2074163" y="5486400"/>
              <a:chExt cx="1000966" cy="778532"/>
            </a:xfrm>
            <a:solidFill>
              <a:srgbClr val="CE1126"/>
            </a:solidFill>
          </p:grpSpPr>
          <p:sp>
            <p:nvSpPr>
              <p:cNvPr id="56" name="Freeform 61"/>
              <p:cNvSpPr>
                <a:spLocks noEditPoints="1"/>
              </p:cNvSpPr>
              <p:nvPr/>
            </p:nvSpPr>
            <p:spPr bwMode="ltGray">
              <a:xfrm>
                <a:off x="2074163" y="5567994"/>
                <a:ext cx="632146" cy="603760"/>
              </a:xfrm>
              <a:custGeom>
                <a:avLst/>
                <a:gdLst>
                  <a:gd name="T0" fmla="*/ 78 w 149"/>
                  <a:gd name="T1" fmla="*/ 0 h 142"/>
                  <a:gd name="T2" fmla="*/ 28 w 149"/>
                  <a:gd name="T3" fmla="*/ 121 h 142"/>
                  <a:gd name="T4" fmla="*/ 78 w 149"/>
                  <a:gd name="T5" fmla="*/ 142 h 142"/>
                  <a:gd name="T6" fmla="*/ 149 w 149"/>
                  <a:gd name="T7" fmla="*/ 71 h 142"/>
                  <a:gd name="T8" fmla="*/ 118 w 149"/>
                  <a:gd name="T9" fmla="*/ 29 h 142"/>
                  <a:gd name="T10" fmla="*/ 104 w 149"/>
                  <a:gd name="T11" fmla="*/ 25 h 142"/>
                  <a:gd name="T12" fmla="*/ 100 w 149"/>
                  <a:gd name="T13" fmla="*/ 44 h 142"/>
                  <a:gd name="T14" fmla="*/ 104 w 149"/>
                  <a:gd name="T15" fmla="*/ 48 h 142"/>
                  <a:gd name="T16" fmla="*/ 100 w 149"/>
                  <a:gd name="T17" fmla="*/ 44 h 142"/>
                  <a:gd name="T18" fmla="*/ 66 w 149"/>
                  <a:gd name="T19" fmla="*/ 26 h 142"/>
                  <a:gd name="T20" fmla="*/ 76 w 149"/>
                  <a:gd name="T21" fmla="*/ 17 h 142"/>
                  <a:gd name="T22" fmla="*/ 77 w 149"/>
                  <a:gd name="T23" fmla="*/ 17 h 142"/>
                  <a:gd name="T24" fmla="*/ 87 w 149"/>
                  <a:gd name="T25" fmla="*/ 26 h 142"/>
                  <a:gd name="T26" fmla="*/ 88 w 149"/>
                  <a:gd name="T27" fmla="*/ 28 h 142"/>
                  <a:gd name="T28" fmla="*/ 79 w 149"/>
                  <a:gd name="T29" fmla="*/ 37 h 142"/>
                  <a:gd name="T30" fmla="*/ 76 w 149"/>
                  <a:gd name="T31" fmla="*/ 39 h 142"/>
                  <a:gd name="T32" fmla="*/ 74 w 149"/>
                  <a:gd name="T33" fmla="*/ 37 h 142"/>
                  <a:gd name="T34" fmla="*/ 65 w 149"/>
                  <a:gd name="T35" fmla="*/ 28 h 142"/>
                  <a:gd name="T36" fmla="*/ 53 w 149"/>
                  <a:gd name="T37" fmla="*/ 44 h 142"/>
                  <a:gd name="T38" fmla="*/ 48 w 149"/>
                  <a:gd name="T39" fmla="*/ 48 h 142"/>
                  <a:gd name="T40" fmla="*/ 53 w 149"/>
                  <a:gd name="T41" fmla="*/ 44 h 142"/>
                  <a:gd name="T42" fmla="*/ 48 w 149"/>
                  <a:gd name="T43" fmla="*/ 27 h 142"/>
                  <a:gd name="T44" fmla="*/ 33 w 149"/>
                  <a:gd name="T45" fmla="*/ 30 h 142"/>
                  <a:gd name="T46" fmla="*/ 28 w 149"/>
                  <a:gd name="T47" fmla="*/ 82 h 142"/>
                  <a:gd name="T48" fmla="*/ 26 w 149"/>
                  <a:gd name="T49" fmla="*/ 79 h 142"/>
                  <a:gd name="T50" fmla="*/ 17 w 149"/>
                  <a:gd name="T51" fmla="*/ 70 h 142"/>
                  <a:gd name="T52" fmla="*/ 18 w 149"/>
                  <a:gd name="T53" fmla="*/ 69 h 142"/>
                  <a:gd name="T54" fmla="*/ 28 w 149"/>
                  <a:gd name="T55" fmla="*/ 59 h 142"/>
                  <a:gd name="T56" fmla="*/ 29 w 149"/>
                  <a:gd name="T57" fmla="*/ 59 h 142"/>
                  <a:gd name="T58" fmla="*/ 39 w 149"/>
                  <a:gd name="T59" fmla="*/ 69 h 142"/>
                  <a:gd name="T60" fmla="*/ 40 w 149"/>
                  <a:gd name="T61" fmla="*/ 70 h 142"/>
                  <a:gd name="T62" fmla="*/ 31 w 149"/>
                  <a:gd name="T63" fmla="*/ 79 h 142"/>
                  <a:gd name="T64" fmla="*/ 36 w 149"/>
                  <a:gd name="T65" fmla="*/ 116 h 142"/>
                  <a:gd name="T66" fmla="*/ 51 w 149"/>
                  <a:gd name="T67" fmla="*/ 118 h 142"/>
                  <a:gd name="T68" fmla="*/ 54 w 149"/>
                  <a:gd name="T69" fmla="*/ 100 h 142"/>
                  <a:gd name="T70" fmla="*/ 50 w 149"/>
                  <a:gd name="T71" fmla="*/ 96 h 142"/>
                  <a:gd name="T72" fmla="*/ 54 w 149"/>
                  <a:gd name="T73" fmla="*/ 100 h 142"/>
                  <a:gd name="T74" fmla="*/ 87 w 149"/>
                  <a:gd name="T75" fmla="*/ 116 h 142"/>
                  <a:gd name="T76" fmla="*/ 77 w 149"/>
                  <a:gd name="T77" fmla="*/ 126 h 142"/>
                  <a:gd name="T78" fmla="*/ 76 w 149"/>
                  <a:gd name="T79" fmla="*/ 126 h 142"/>
                  <a:gd name="T80" fmla="*/ 66 w 149"/>
                  <a:gd name="T81" fmla="*/ 116 h 142"/>
                  <a:gd name="T82" fmla="*/ 65 w 149"/>
                  <a:gd name="T83" fmla="*/ 114 h 142"/>
                  <a:gd name="T84" fmla="*/ 74 w 149"/>
                  <a:gd name="T85" fmla="*/ 105 h 142"/>
                  <a:gd name="T86" fmla="*/ 76 w 149"/>
                  <a:gd name="T87" fmla="*/ 103 h 142"/>
                  <a:gd name="T88" fmla="*/ 79 w 149"/>
                  <a:gd name="T89" fmla="*/ 105 h 142"/>
                  <a:gd name="T90" fmla="*/ 88 w 149"/>
                  <a:gd name="T91" fmla="*/ 114 h 142"/>
                  <a:gd name="T92" fmla="*/ 78 w 149"/>
                  <a:gd name="T93" fmla="*/ 87 h 142"/>
                  <a:gd name="T94" fmla="*/ 78 w 149"/>
                  <a:gd name="T95" fmla="*/ 53 h 142"/>
                  <a:gd name="T96" fmla="*/ 78 w 149"/>
                  <a:gd name="T97" fmla="*/ 87 h 142"/>
                  <a:gd name="T98" fmla="*/ 100 w 149"/>
                  <a:gd name="T99" fmla="*/ 97 h 142"/>
                  <a:gd name="T100" fmla="*/ 104 w 149"/>
                  <a:gd name="T101" fmla="*/ 93 h 142"/>
                  <a:gd name="T102" fmla="*/ 121 w 149"/>
                  <a:gd name="T103" fmla="*/ 112 h 142"/>
                  <a:gd name="T104" fmla="*/ 123 w 149"/>
                  <a:gd name="T105" fmla="*/ 97 h 142"/>
                  <a:gd name="T106" fmla="*/ 139 w 149"/>
                  <a:gd name="T107" fmla="*/ 71 h 142"/>
                  <a:gd name="T108" fmla="*/ 129 w 149"/>
                  <a:gd name="T109" fmla="*/ 81 h 142"/>
                  <a:gd name="T110" fmla="*/ 127 w 149"/>
                  <a:gd name="T111" fmla="*/ 81 h 142"/>
                  <a:gd name="T112" fmla="*/ 117 w 149"/>
                  <a:gd name="T113" fmla="*/ 71 h 142"/>
                  <a:gd name="T114" fmla="*/ 116 w 149"/>
                  <a:gd name="T115" fmla="*/ 69 h 142"/>
                  <a:gd name="T116" fmla="*/ 126 w 149"/>
                  <a:gd name="T117" fmla="*/ 60 h 142"/>
                  <a:gd name="T118" fmla="*/ 128 w 149"/>
                  <a:gd name="T119" fmla="*/ 58 h 142"/>
                  <a:gd name="T120" fmla="*/ 130 w 149"/>
                  <a:gd name="T121" fmla="*/ 60 h 142"/>
                  <a:gd name="T122" fmla="*/ 140 w 149"/>
                  <a:gd name="T123" fmla="*/ 69 h 142"/>
                  <a:gd name="T124" fmla="*/ 139 w 149"/>
                  <a:gd name="T125"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9" h="142">
                    <a:moveTo>
                      <a:pt x="129" y="21"/>
                    </a:moveTo>
                    <a:cubicBezTo>
                      <a:pt x="115" y="7"/>
                      <a:pt x="97" y="0"/>
                      <a:pt x="78" y="0"/>
                    </a:cubicBezTo>
                    <a:cubicBezTo>
                      <a:pt x="59" y="0"/>
                      <a:pt x="41" y="7"/>
                      <a:pt x="28" y="21"/>
                    </a:cubicBezTo>
                    <a:cubicBezTo>
                      <a:pt x="0" y="48"/>
                      <a:pt x="0" y="94"/>
                      <a:pt x="28" y="121"/>
                    </a:cubicBezTo>
                    <a:cubicBezTo>
                      <a:pt x="41" y="135"/>
                      <a:pt x="59" y="142"/>
                      <a:pt x="78" y="142"/>
                    </a:cubicBezTo>
                    <a:cubicBezTo>
                      <a:pt x="78" y="142"/>
                      <a:pt x="78" y="142"/>
                      <a:pt x="78" y="142"/>
                    </a:cubicBezTo>
                    <a:cubicBezTo>
                      <a:pt x="97" y="142"/>
                      <a:pt x="115" y="135"/>
                      <a:pt x="128" y="121"/>
                    </a:cubicBezTo>
                    <a:cubicBezTo>
                      <a:pt x="142" y="108"/>
                      <a:pt x="149" y="90"/>
                      <a:pt x="149" y="71"/>
                    </a:cubicBezTo>
                    <a:cubicBezTo>
                      <a:pt x="149" y="52"/>
                      <a:pt x="142" y="34"/>
                      <a:pt x="129" y="21"/>
                    </a:cubicBezTo>
                    <a:close/>
                    <a:moveTo>
                      <a:pt x="118" y="29"/>
                    </a:moveTo>
                    <a:cubicBezTo>
                      <a:pt x="120" y="43"/>
                      <a:pt x="120" y="43"/>
                      <a:pt x="120" y="43"/>
                    </a:cubicBezTo>
                    <a:cubicBezTo>
                      <a:pt x="104" y="25"/>
                      <a:pt x="104" y="25"/>
                      <a:pt x="104" y="25"/>
                    </a:cubicBezTo>
                    <a:lnTo>
                      <a:pt x="118" y="29"/>
                    </a:lnTo>
                    <a:close/>
                    <a:moveTo>
                      <a:pt x="100" y="44"/>
                    </a:moveTo>
                    <a:cubicBezTo>
                      <a:pt x="101" y="43"/>
                      <a:pt x="103" y="43"/>
                      <a:pt x="104" y="44"/>
                    </a:cubicBezTo>
                    <a:cubicBezTo>
                      <a:pt x="105" y="45"/>
                      <a:pt x="105" y="47"/>
                      <a:pt x="104" y="48"/>
                    </a:cubicBezTo>
                    <a:cubicBezTo>
                      <a:pt x="103" y="49"/>
                      <a:pt x="101" y="49"/>
                      <a:pt x="100" y="48"/>
                    </a:cubicBezTo>
                    <a:cubicBezTo>
                      <a:pt x="99" y="47"/>
                      <a:pt x="99" y="45"/>
                      <a:pt x="100" y="44"/>
                    </a:cubicBezTo>
                    <a:close/>
                    <a:moveTo>
                      <a:pt x="65" y="28"/>
                    </a:moveTo>
                    <a:cubicBezTo>
                      <a:pt x="65" y="27"/>
                      <a:pt x="65" y="26"/>
                      <a:pt x="66" y="26"/>
                    </a:cubicBezTo>
                    <a:cubicBezTo>
                      <a:pt x="66" y="26"/>
                      <a:pt x="72" y="25"/>
                      <a:pt x="74" y="19"/>
                    </a:cubicBezTo>
                    <a:cubicBezTo>
                      <a:pt x="74" y="19"/>
                      <a:pt x="75" y="17"/>
                      <a:pt x="76" y="17"/>
                    </a:cubicBezTo>
                    <a:cubicBezTo>
                      <a:pt x="76" y="17"/>
                      <a:pt x="76" y="16"/>
                      <a:pt x="76" y="16"/>
                    </a:cubicBezTo>
                    <a:cubicBezTo>
                      <a:pt x="77" y="16"/>
                      <a:pt x="77" y="17"/>
                      <a:pt x="77" y="17"/>
                    </a:cubicBezTo>
                    <a:cubicBezTo>
                      <a:pt x="78" y="17"/>
                      <a:pt x="79" y="19"/>
                      <a:pt x="79" y="19"/>
                    </a:cubicBezTo>
                    <a:cubicBezTo>
                      <a:pt x="80" y="25"/>
                      <a:pt x="87" y="26"/>
                      <a:pt x="87" y="26"/>
                    </a:cubicBezTo>
                    <a:cubicBezTo>
                      <a:pt x="88" y="26"/>
                      <a:pt x="88" y="27"/>
                      <a:pt x="88" y="28"/>
                    </a:cubicBezTo>
                    <a:cubicBezTo>
                      <a:pt x="88" y="28"/>
                      <a:pt x="88" y="28"/>
                      <a:pt x="88" y="28"/>
                    </a:cubicBezTo>
                    <a:cubicBezTo>
                      <a:pt x="88" y="29"/>
                      <a:pt x="88" y="29"/>
                      <a:pt x="87" y="30"/>
                    </a:cubicBezTo>
                    <a:cubicBezTo>
                      <a:pt x="87" y="30"/>
                      <a:pt x="80" y="31"/>
                      <a:pt x="79" y="37"/>
                    </a:cubicBezTo>
                    <a:cubicBezTo>
                      <a:pt x="79" y="37"/>
                      <a:pt x="78" y="39"/>
                      <a:pt x="77" y="39"/>
                    </a:cubicBezTo>
                    <a:cubicBezTo>
                      <a:pt x="77" y="39"/>
                      <a:pt x="77" y="39"/>
                      <a:pt x="76" y="39"/>
                    </a:cubicBezTo>
                    <a:cubicBezTo>
                      <a:pt x="76" y="39"/>
                      <a:pt x="76" y="39"/>
                      <a:pt x="76" y="39"/>
                    </a:cubicBezTo>
                    <a:cubicBezTo>
                      <a:pt x="75" y="39"/>
                      <a:pt x="74" y="37"/>
                      <a:pt x="74" y="37"/>
                    </a:cubicBezTo>
                    <a:cubicBezTo>
                      <a:pt x="72" y="31"/>
                      <a:pt x="66" y="30"/>
                      <a:pt x="66" y="30"/>
                    </a:cubicBezTo>
                    <a:cubicBezTo>
                      <a:pt x="65" y="29"/>
                      <a:pt x="65" y="29"/>
                      <a:pt x="65" y="28"/>
                    </a:cubicBezTo>
                    <a:cubicBezTo>
                      <a:pt x="65" y="28"/>
                      <a:pt x="65" y="28"/>
                      <a:pt x="65" y="28"/>
                    </a:cubicBezTo>
                    <a:close/>
                    <a:moveTo>
                      <a:pt x="53" y="44"/>
                    </a:moveTo>
                    <a:cubicBezTo>
                      <a:pt x="54" y="45"/>
                      <a:pt x="54" y="47"/>
                      <a:pt x="53" y="48"/>
                    </a:cubicBezTo>
                    <a:cubicBezTo>
                      <a:pt x="51" y="49"/>
                      <a:pt x="50" y="49"/>
                      <a:pt x="48" y="48"/>
                    </a:cubicBezTo>
                    <a:cubicBezTo>
                      <a:pt x="47" y="47"/>
                      <a:pt x="47" y="45"/>
                      <a:pt x="48" y="44"/>
                    </a:cubicBezTo>
                    <a:cubicBezTo>
                      <a:pt x="50" y="43"/>
                      <a:pt x="51" y="43"/>
                      <a:pt x="53" y="44"/>
                    </a:cubicBezTo>
                    <a:close/>
                    <a:moveTo>
                      <a:pt x="33" y="30"/>
                    </a:moveTo>
                    <a:cubicBezTo>
                      <a:pt x="48" y="27"/>
                      <a:pt x="48" y="27"/>
                      <a:pt x="48" y="27"/>
                    </a:cubicBezTo>
                    <a:cubicBezTo>
                      <a:pt x="30" y="44"/>
                      <a:pt x="30" y="44"/>
                      <a:pt x="30" y="44"/>
                    </a:cubicBezTo>
                    <a:lnTo>
                      <a:pt x="33" y="30"/>
                    </a:lnTo>
                    <a:close/>
                    <a:moveTo>
                      <a:pt x="29" y="81"/>
                    </a:moveTo>
                    <a:cubicBezTo>
                      <a:pt x="29" y="82"/>
                      <a:pt x="29" y="82"/>
                      <a:pt x="28" y="82"/>
                    </a:cubicBezTo>
                    <a:cubicBezTo>
                      <a:pt x="28" y="82"/>
                      <a:pt x="28" y="82"/>
                      <a:pt x="28" y="82"/>
                    </a:cubicBezTo>
                    <a:cubicBezTo>
                      <a:pt x="27" y="81"/>
                      <a:pt x="26" y="79"/>
                      <a:pt x="26" y="79"/>
                    </a:cubicBezTo>
                    <a:cubicBezTo>
                      <a:pt x="24" y="73"/>
                      <a:pt x="18" y="72"/>
                      <a:pt x="18" y="72"/>
                    </a:cubicBezTo>
                    <a:cubicBezTo>
                      <a:pt x="17" y="72"/>
                      <a:pt x="17" y="71"/>
                      <a:pt x="17" y="70"/>
                    </a:cubicBezTo>
                    <a:cubicBezTo>
                      <a:pt x="17" y="70"/>
                      <a:pt x="17" y="70"/>
                      <a:pt x="17" y="70"/>
                    </a:cubicBezTo>
                    <a:cubicBezTo>
                      <a:pt x="17" y="69"/>
                      <a:pt x="17" y="69"/>
                      <a:pt x="18" y="69"/>
                    </a:cubicBezTo>
                    <a:cubicBezTo>
                      <a:pt x="18" y="68"/>
                      <a:pt x="24" y="67"/>
                      <a:pt x="26" y="61"/>
                    </a:cubicBezTo>
                    <a:cubicBezTo>
                      <a:pt x="26" y="61"/>
                      <a:pt x="27" y="59"/>
                      <a:pt x="28" y="59"/>
                    </a:cubicBezTo>
                    <a:cubicBezTo>
                      <a:pt x="28" y="59"/>
                      <a:pt x="28" y="59"/>
                      <a:pt x="28" y="59"/>
                    </a:cubicBezTo>
                    <a:cubicBezTo>
                      <a:pt x="29" y="59"/>
                      <a:pt x="29" y="59"/>
                      <a:pt x="29" y="59"/>
                    </a:cubicBezTo>
                    <a:cubicBezTo>
                      <a:pt x="30" y="59"/>
                      <a:pt x="31" y="61"/>
                      <a:pt x="31" y="61"/>
                    </a:cubicBezTo>
                    <a:cubicBezTo>
                      <a:pt x="32" y="67"/>
                      <a:pt x="39" y="68"/>
                      <a:pt x="39" y="69"/>
                    </a:cubicBezTo>
                    <a:cubicBezTo>
                      <a:pt x="40" y="69"/>
                      <a:pt x="40" y="69"/>
                      <a:pt x="40" y="70"/>
                    </a:cubicBezTo>
                    <a:cubicBezTo>
                      <a:pt x="40" y="70"/>
                      <a:pt x="40" y="70"/>
                      <a:pt x="40" y="70"/>
                    </a:cubicBezTo>
                    <a:cubicBezTo>
                      <a:pt x="40" y="71"/>
                      <a:pt x="40" y="72"/>
                      <a:pt x="39" y="72"/>
                    </a:cubicBezTo>
                    <a:cubicBezTo>
                      <a:pt x="39" y="72"/>
                      <a:pt x="32" y="73"/>
                      <a:pt x="31" y="79"/>
                    </a:cubicBezTo>
                    <a:cubicBezTo>
                      <a:pt x="31" y="79"/>
                      <a:pt x="30" y="81"/>
                      <a:pt x="29" y="81"/>
                    </a:cubicBezTo>
                    <a:close/>
                    <a:moveTo>
                      <a:pt x="36" y="116"/>
                    </a:moveTo>
                    <a:cubicBezTo>
                      <a:pt x="32" y="101"/>
                      <a:pt x="32" y="101"/>
                      <a:pt x="32" y="101"/>
                    </a:cubicBezTo>
                    <a:cubicBezTo>
                      <a:pt x="51" y="118"/>
                      <a:pt x="51" y="118"/>
                      <a:pt x="51" y="118"/>
                    </a:cubicBezTo>
                    <a:lnTo>
                      <a:pt x="36" y="116"/>
                    </a:lnTo>
                    <a:close/>
                    <a:moveTo>
                      <a:pt x="54" y="100"/>
                    </a:moveTo>
                    <a:cubicBezTo>
                      <a:pt x="53" y="101"/>
                      <a:pt x="51" y="101"/>
                      <a:pt x="50" y="100"/>
                    </a:cubicBezTo>
                    <a:cubicBezTo>
                      <a:pt x="49" y="99"/>
                      <a:pt x="49" y="97"/>
                      <a:pt x="50" y="96"/>
                    </a:cubicBezTo>
                    <a:cubicBezTo>
                      <a:pt x="51" y="95"/>
                      <a:pt x="53" y="95"/>
                      <a:pt x="54" y="96"/>
                    </a:cubicBezTo>
                    <a:cubicBezTo>
                      <a:pt x="55" y="97"/>
                      <a:pt x="55" y="99"/>
                      <a:pt x="54" y="100"/>
                    </a:cubicBezTo>
                    <a:close/>
                    <a:moveTo>
                      <a:pt x="88" y="114"/>
                    </a:moveTo>
                    <a:cubicBezTo>
                      <a:pt x="88" y="115"/>
                      <a:pt x="88" y="116"/>
                      <a:pt x="87" y="116"/>
                    </a:cubicBezTo>
                    <a:cubicBezTo>
                      <a:pt x="87" y="116"/>
                      <a:pt x="80" y="117"/>
                      <a:pt x="79" y="123"/>
                    </a:cubicBezTo>
                    <a:cubicBezTo>
                      <a:pt x="79" y="123"/>
                      <a:pt x="78" y="125"/>
                      <a:pt x="77" y="126"/>
                    </a:cubicBezTo>
                    <a:cubicBezTo>
                      <a:pt x="77" y="126"/>
                      <a:pt x="77" y="126"/>
                      <a:pt x="76" y="126"/>
                    </a:cubicBezTo>
                    <a:cubicBezTo>
                      <a:pt x="76" y="126"/>
                      <a:pt x="76" y="126"/>
                      <a:pt x="76" y="126"/>
                    </a:cubicBezTo>
                    <a:cubicBezTo>
                      <a:pt x="75" y="125"/>
                      <a:pt x="74" y="123"/>
                      <a:pt x="74" y="123"/>
                    </a:cubicBezTo>
                    <a:cubicBezTo>
                      <a:pt x="72" y="117"/>
                      <a:pt x="66" y="116"/>
                      <a:pt x="66" y="116"/>
                    </a:cubicBezTo>
                    <a:cubicBezTo>
                      <a:pt x="65" y="116"/>
                      <a:pt x="65" y="115"/>
                      <a:pt x="65" y="114"/>
                    </a:cubicBezTo>
                    <a:cubicBezTo>
                      <a:pt x="65" y="114"/>
                      <a:pt x="65" y="114"/>
                      <a:pt x="65" y="114"/>
                    </a:cubicBezTo>
                    <a:cubicBezTo>
                      <a:pt x="65" y="113"/>
                      <a:pt x="65" y="113"/>
                      <a:pt x="66" y="113"/>
                    </a:cubicBezTo>
                    <a:cubicBezTo>
                      <a:pt x="66" y="112"/>
                      <a:pt x="72" y="111"/>
                      <a:pt x="74" y="105"/>
                    </a:cubicBezTo>
                    <a:cubicBezTo>
                      <a:pt x="74" y="105"/>
                      <a:pt x="75" y="103"/>
                      <a:pt x="76" y="103"/>
                    </a:cubicBezTo>
                    <a:cubicBezTo>
                      <a:pt x="76" y="103"/>
                      <a:pt x="76" y="103"/>
                      <a:pt x="76" y="103"/>
                    </a:cubicBezTo>
                    <a:cubicBezTo>
                      <a:pt x="77" y="103"/>
                      <a:pt x="77" y="103"/>
                      <a:pt x="77" y="103"/>
                    </a:cubicBezTo>
                    <a:cubicBezTo>
                      <a:pt x="78" y="103"/>
                      <a:pt x="79" y="105"/>
                      <a:pt x="79" y="105"/>
                    </a:cubicBezTo>
                    <a:cubicBezTo>
                      <a:pt x="80" y="111"/>
                      <a:pt x="87" y="112"/>
                      <a:pt x="87" y="113"/>
                    </a:cubicBezTo>
                    <a:cubicBezTo>
                      <a:pt x="88" y="113"/>
                      <a:pt x="88" y="113"/>
                      <a:pt x="88" y="114"/>
                    </a:cubicBezTo>
                    <a:cubicBezTo>
                      <a:pt x="88" y="114"/>
                      <a:pt x="88" y="114"/>
                      <a:pt x="88" y="114"/>
                    </a:cubicBezTo>
                    <a:close/>
                    <a:moveTo>
                      <a:pt x="78" y="87"/>
                    </a:moveTo>
                    <a:cubicBezTo>
                      <a:pt x="64" y="87"/>
                      <a:pt x="53" y="79"/>
                      <a:pt x="53" y="70"/>
                    </a:cubicBezTo>
                    <a:cubicBezTo>
                      <a:pt x="53" y="60"/>
                      <a:pt x="64" y="53"/>
                      <a:pt x="78" y="53"/>
                    </a:cubicBezTo>
                    <a:cubicBezTo>
                      <a:pt x="92" y="53"/>
                      <a:pt x="103" y="60"/>
                      <a:pt x="103" y="70"/>
                    </a:cubicBezTo>
                    <a:cubicBezTo>
                      <a:pt x="103" y="79"/>
                      <a:pt x="92" y="87"/>
                      <a:pt x="78" y="87"/>
                    </a:cubicBezTo>
                    <a:close/>
                    <a:moveTo>
                      <a:pt x="104" y="97"/>
                    </a:moveTo>
                    <a:cubicBezTo>
                      <a:pt x="103" y="99"/>
                      <a:pt x="101" y="99"/>
                      <a:pt x="100" y="97"/>
                    </a:cubicBezTo>
                    <a:cubicBezTo>
                      <a:pt x="99" y="96"/>
                      <a:pt x="99" y="95"/>
                      <a:pt x="100" y="93"/>
                    </a:cubicBezTo>
                    <a:cubicBezTo>
                      <a:pt x="101" y="92"/>
                      <a:pt x="103" y="92"/>
                      <a:pt x="104" y="93"/>
                    </a:cubicBezTo>
                    <a:cubicBezTo>
                      <a:pt x="106" y="95"/>
                      <a:pt x="106" y="96"/>
                      <a:pt x="104" y="97"/>
                    </a:cubicBezTo>
                    <a:close/>
                    <a:moveTo>
                      <a:pt x="121" y="112"/>
                    </a:moveTo>
                    <a:cubicBezTo>
                      <a:pt x="106" y="116"/>
                      <a:pt x="106" y="116"/>
                      <a:pt x="106" y="116"/>
                    </a:cubicBezTo>
                    <a:cubicBezTo>
                      <a:pt x="123" y="97"/>
                      <a:pt x="123" y="97"/>
                      <a:pt x="123" y="97"/>
                    </a:cubicBezTo>
                    <a:lnTo>
                      <a:pt x="121" y="112"/>
                    </a:lnTo>
                    <a:close/>
                    <a:moveTo>
                      <a:pt x="139" y="71"/>
                    </a:moveTo>
                    <a:cubicBezTo>
                      <a:pt x="138" y="71"/>
                      <a:pt x="132" y="72"/>
                      <a:pt x="130" y="79"/>
                    </a:cubicBezTo>
                    <a:cubicBezTo>
                      <a:pt x="130" y="79"/>
                      <a:pt x="130" y="80"/>
                      <a:pt x="129" y="81"/>
                    </a:cubicBezTo>
                    <a:cubicBezTo>
                      <a:pt x="129" y="81"/>
                      <a:pt x="128" y="81"/>
                      <a:pt x="128" y="81"/>
                    </a:cubicBezTo>
                    <a:cubicBezTo>
                      <a:pt x="128" y="81"/>
                      <a:pt x="127" y="81"/>
                      <a:pt x="127" y="81"/>
                    </a:cubicBezTo>
                    <a:cubicBezTo>
                      <a:pt x="126" y="80"/>
                      <a:pt x="126" y="79"/>
                      <a:pt x="126" y="79"/>
                    </a:cubicBezTo>
                    <a:cubicBezTo>
                      <a:pt x="124" y="72"/>
                      <a:pt x="117" y="71"/>
                      <a:pt x="117" y="71"/>
                    </a:cubicBezTo>
                    <a:cubicBezTo>
                      <a:pt x="117" y="71"/>
                      <a:pt x="116" y="71"/>
                      <a:pt x="116" y="70"/>
                    </a:cubicBezTo>
                    <a:cubicBezTo>
                      <a:pt x="116" y="69"/>
                      <a:pt x="116" y="69"/>
                      <a:pt x="116" y="69"/>
                    </a:cubicBezTo>
                    <a:cubicBezTo>
                      <a:pt x="116" y="68"/>
                      <a:pt x="117" y="68"/>
                      <a:pt x="117" y="68"/>
                    </a:cubicBezTo>
                    <a:cubicBezTo>
                      <a:pt x="117" y="68"/>
                      <a:pt x="124" y="66"/>
                      <a:pt x="126" y="60"/>
                    </a:cubicBezTo>
                    <a:cubicBezTo>
                      <a:pt x="126" y="60"/>
                      <a:pt x="126" y="59"/>
                      <a:pt x="127" y="58"/>
                    </a:cubicBezTo>
                    <a:cubicBezTo>
                      <a:pt x="127" y="58"/>
                      <a:pt x="128" y="58"/>
                      <a:pt x="128" y="58"/>
                    </a:cubicBezTo>
                    <a:cubicBezTo>
                      <a:pt x="128" y="58"/>
                      <a:pt x="129" y="58"/>
                      <a:pt x="129" y="58"/>
                    </a:cubicBezTo>
                    <a:cubicBezTo>
                      <a:pt x="130" y="59"/>
                      <a:pt x="130" y="60"/>
                      <a:pt x="130" y="60"/>
                    </a:cubicBezTo>
                    <a:cubicBezTo>
                      <a:pt x="132" y="66"/>
                      <a:pt x="138" y="68"/>
                      <a:pt x="139" y="68"/>
                    </a:cubicBezTo>
                    <a:cubicBezTo>
                      <a:pt x="139" y="68"/>
                      <a:pt x="139" y="68"/>
                      <a:pt x="140" y="69"/>
                    </a:cubicBezTo>
                    <a:cubicBezTo>
                      <a:pt x="140" y="69"/>
                      <a:pt x="140" y="69"/>
                      <a:pt x="140" y="70"/>
                    </a:cubicBezTo>
                    <a:cubicBezTo>
                      <a:pt x="139" y="71"/>
                      <a:pt x="139" y="71"/>
                      <a:pt x="139" y="71"/>
                    </a:cubicBezTo>
                    <a:close/>
                  </a:path>
                </a:pathLst>
              </a:custGeom>
              <a:grpFill/>
              <a:ln>
                <a:noFill/>
              </a:ln>
            </p:spPr>
            <p:txBody>
              <a:bodyPr/>
              <a:lstStyle/>
              <a:p>
                <a:pPr>
                  <a:defRPr/>
                </a:pPr>
                <a:endParaRPr lang="en-US" kern="0" dirty="0">
                  <a:solidFill>
                    <a:sysClr val="windowText" lastClr="000000"/>
                  </a:solidFill>
                  <a:latin typeface="Arial"/>
                </a:endParaRPr>
              </a:p>
            </p:txBody>
          </p:sp>
          <p:sp>
            <p:nvSpPr>
              <p:cNvPr id="57" name="Oval 62"/>
              <p:cNvSpPr>
                <a:spLocks noChangeArrowheads="1"/>
              </p:cNvSpPr>
              <p:nvPr/>
            </p:nvSpPr>
            <p:spPr bwMode="ltGray">
              <a:xfrm>
                <a:off x="2315820" y="5805816"/>
                <a:ext cx="177983" cy="119678"/>
              </a:xfrm>
              <a:prstGeom prst="ellipse">
                <a:avLst/>
              </a:prstGeom>
              <a:grpFill/>
              <a:ln>
                <a:noFill/>
              </a:ln>
            </p:spPr>
            <p:txBody>
              <a:bodyPr/>
              <a:lstStyle/>
              <a:p>
                <a:pPr>
                  <a:defRPr/>
                </a:pPr>
                <a:endParaRPr lang="en-US" kern="0" dirty="0">
                  <a:solidFill>
                    <a:sysClr val="windowText" lastClr="000000"/>
                  </a:solidFill>
                  <a:latin typeface="Arial"/>
                </a:endParaRPr>
              </a:p>
            </p:txBody>
          </p:sp>
          <p:sp>
            <p:nvSpPr>
              <p:cNvPr id="58" name="Freeform 63"/>
              <p:cNvSpPr>
                <a:spLocks/>
              </p:cNvSpPr>
              <p:nvPr/>
            </p:nvSpPr>
            <p:spPr bwMode="ltGray">
              <a:xfrm>
                <a:off x="2133600" y="5486400"/>
                <a:ext cx="941529" cy="778532"/>
              </a:xfrm>
              <a:custGeom>
                <a:avLst/>
                <a:gdLst/>
                <a:ahLst/>
                <a:cxnLst/>
                <a:rect l="l" t="t" r="r" b="b"/>
                <a:pathLst>
                  <a:path w="1948308" h="1611020">
                    <a:moveTo>
                      <a:pt x="1153401" y="173208"/>
                    </a:moveTo>
                    <a:cubicBezTo>
                      <a:pt x="1125912" y="172968"/>
                      <a:pt x="1098388" y="174480"/>
                      <a:pt x="1071002" y="177780"/>
                    </a:cubicBezTo>
                    <a:cubicBezTo>
                      <a:pt x="1088529" y="195379"/>
                      <a:pt x="1106057" y="212978"/>
                      <a:pt x="1123584" y="230577"/>
                    </a:cubicBezTo>
                    <a:cubicBezTo>
                      <a:pt x="1430312" y="538563"/>
                      <a:pt x="1430312" y="1048939"/>
                      <a:pt x="1123584" y="1356925"/>
                    </a:cubicBezTo>
                    <a:cubicBezTo>
                      <a:pt x="1088529" y="1392123"/>
                      <a:pt x="1053475" y="1418522"/>
                      <a:pt x="1018420" y="1444921"/>
                    </a:cubicBezTo>
                    <a:cubicBezTo>
                      <a:pt x="1193693" y="1480119"/>
                      <a:pt x="1386493" y="1444921"/>
                      <a:pt x="1544239" y="1330526"/>
                    </a:cubicBezTo>
                    <a:cubicBezTo>
                      <a:pt x="1824676" y="1110537"/>
                      <a:pt x="1877258" y="705755"/>
                      <a:pt x="1666930" y="424168"/>
                    </a:cubicBezTo>
                    <a:cubicBezTo>
                      <a:pt x="1536571" y="262476"/>
                      <a:pt x="1345824" y="174893"/>
                      <a:pt x="1153401" y="173208"/>
                    </a:cubicBezTo>
                    <a:close/>
                    <a:moveTo>
                      <a:pt x="561739" y="124393"/>
                    </a:moveTo>
                    <a:cubicBezTo>
                      <a:pt x="386415" y="124393"/>
                      <a:pt x="219858" y="194828"/>
                      <a:pt x="88365" y="318089"/>
                    </a:cubicBezTo>
                    <a:cubicBezTo>
                      <a:pt x="-165855" y="582220"/>
                      <a:pt x="-165855" y="1004829"/>
                      <a:pt x="88365" y="1268960"/>
                    </a:cubicBezTo>
                    <a:cubicBezTo>
                      <a:pt x="219858" y="1392221"/>
                      <a:pt x="386415" y="1462656"/>
                      <a:pt x="561739" y="1462656"/>
                    </a:cubicBezTo>
                    <a:cubicBezTo>
                      <a:pt x="737063" y="1462656"/>
                      <a:pt x="903621" y="1392221"/>
                      <a:pt x="1035114" y="1268960"/>
                    </a:cubicBezTo>
                    <a:cubicBezTo>
                      <a:pt x="1157840" y="1136895"/>
                      <a:pt x="1227970" y="969612"/>
                      <a:pt x="1227970" y="793525"/>
                    </a:cubicBezTo>
                    <a:cubicBezTo>
                      <a:pt x="1227970" y="617437"/>
                      <a:pt x="1157840" y="450155"/>
                      <a:pt x="1035114" y="318089"/>
                    </a:cubicBezTo>
                    <a:cubicBezTo>
                      <a:pt x="912387" y="194828"/>
                      <a:pt x="737063" y="124393"/>
                      <a:pt x="561739" y="124393"/>
                    </a:cubicBezTo>
                    <a:close/>
                    <a:moveTo>
                      <a:pt x="541100" y="178"/>
                    </a:moveTo>
                    <a:cubicBezTo>
                      <a:pt x="659261" y="-2300"/>
                      <a:pt x="777730" y="21236"/>
                      <a:pt x="886327" y="70784"/>
                    </a:cubicBezTo>
                    <a:cubicBezTo>
                      <a:pt x="1202245" y="-43728"/>
                      <a:pt x="1570817" y="53167"/>
                      <a:pt x="1781429" y="335042"/>
                    </a:cubicBezTo>
                    <a:cubicBezTo>
                      <a:pt x="2053470" y="678577"/>
                      <a:pt x="1983266" y="1180667"/>
                      <a:pt x="1641021" y="1453733"/>
                    </a:cubicBezTo>
                    <a:cubicBezTo>
                      <a:pt x="1395306" y="1629905"/>
                      <a:pt x="1088164" y="1656331"/>
                      <a:pt x="833674" y="1541819"/>
                    </a:cubicBezTo>
                    <a:cubicBezTo>
                      <a:pt x="552857" y="1647523"/>
                      <a:pt x="228163" y="1585862"/>
                      <a:pt x="0" y="1356839"/>
                    </a:cubicBezTo>
                    <a:cubicBezTo>
                      <a:pt x="-307143" y="1048538"/>
                      <a:pt x="-307143" y="537640"/>
                      <a:pt x="0" y="229339"/>
                    </a:cubicBezTo>
                    <a:cubicBezTo>
                      <a:pt x="148087" y="80694"/>
                      <a:pt x="344165" y="4307"/>
                      <a:pt x="541100" y="178"/>
                    </a:cubicBezTo>
                    <a:close/>
                  </a:path>
                </a:pathLst>
              </a:custGeom>
              <a:grpFill/>
              <a:ln>
                <a:noFill/>
              </a:ln>
            </p:spPr>
            <p:txBody>
              <a:bodyPr/>
              <a:lstStyle/>
              <a:p>
                <a:pPr>
                  <a:defRPr/>
                </a:pPr>
                <a:endParaRPr lang="en-US" kern="0" dirty="0">
                  <a:solidFill>
                    <a:sysClr val="windowText" lastClr="000000"/>
                  </a:solidFill>
                  <a:latin typeface="Arial"/>
                </a:endParaRPr>
              </a:p>
            </p:txBody>
          </p:sp>
        </p:grpSp>
        <p:grpSp>
          <p:nvGrpSpPr>
            <p:cNvPr id="22" name="Group 21"/>
            <p:cNvGrpSpPr/>
            <p:nvPr/>
          </p:nvGrpSpPr>
          <p:grpSpPr bwMode="ltGray">
            <a:xfrm rot="1190879">
              <a:off x="5890566" y="5904196"/>
              <a:ext cx="807798" cy="511543"/>
              <a:chOff x="7461248" y="4493227"/>
              <a:chExt cx="791430" cy="501186"/>
            </a:xfrm>
            <a:solidFill>
              <a:srgbClr val="00B7C6"/>
            </a:solidFill>
          </p:grpSpPr>
          <p:sp>
            <p:nvSpPr>
              <p:cNvPr id="54" name="Freeform 164"/>
              <p:cNvSpPr>
                <a:spLocks/>
              </p:cNvSpPr>
              <p:nvPr/>
            </p:nvSpPr>
            <p:spPr bwMode="ltGray">
              <a:xfrm>
                <a:off x="7461248" y="4493227"/>
                <a:ext cx="791430" cy="283107"/>
              </a:xfrm>
              <a:custGeom>
                <a:avLst/>
                <a:gdLst>
                  <a:gd name="T0" fmla="*/ 133 w 267"/>
                  <a:gd name="T1" fmla="*/ 0 h 95"/>
                  <a:gd name="T2" fmla="*/ 0 w 267"/>
                  <a:gd name="T3" fmla="*/ 32 h 95"/>
                  <a:gd name="T4" fmla="*/ 0 w 267"/>
                  <a:gd name="T5" fmla="*/ 59 h 95"/>
                  <a:gd name="T6" fmla="*/ 0 w 267"/>
                  <a:gd name="T7" fmla="*/ 59 h 95"/>
                  <a:gd name="T8" fmla="*/ 0 w 267"/>
                  <a:gd name="T9" fmla="*/ 63 h 95"/>
                  <a:gd name="T10" fmla="*/ 23 w 267"/>
                  <a:gd name="T11" fmla="*/ 74 h 95"/>
                  <a:gd name="T12" fmla="*/ 23 w 267"/>
                  <a:gd name="T13" fmla="*/ 48 h 95"/>
                  <a:gd name="T14" fmla="*/ 56 w 267"/>
                  <a:gd name="T15" fmla="*/ 48 h 95"/>
                  <a:gd name="T16" fmla="*/ 56 w 267"/>
                  <a:gd name="T17" fmla="*/ 86 h 95"/>
                  <a:gd name="T18" fmla="*/ 70 w 267"/>
                  <a:gd name="T19" fmla="*/ 89 h 95"/>
                  <a:gd name="T20" fmla="*/ 70 w 267"/>
                  <a:gd name="T21" fmla="*/ 48 h 95"/>
                  <a:gd name="T22" fmla="*/ 103 w 267"/>
                  <a:gd name="T23" fmla="*/ 48 h 95"/>
                  <a:gd name="T24" fmla="*/ 103 w 267"/>
                  <a:gd name="T25" fmla="*/ 94 h 95"/>
                  <a:gd name="T26" fmla="*/ 117 w 267"/>
                  <a:gd name="T27" fmla="*/ 95 h 95"/>
                  <a:gd name="T28" fmla="*/ 117 w 267"/>
                  <a:gd name="T29" fmla="*/ 48 h 95"/>
                  <a:gd name="T30" fmla="*/ 150 w 267"/>
                  <a:gd name="T31" fmla="*/ 48 h 95"/>
                  <a:gd name="T32" fmla="*/ 150 w 267"/>
                  <a:gd name="T33" fmla="*/ 95 h 95"/>
                  <a:gd name="T34" fmla="*/ 164 w 267"/>
                  <a:gd name="T35" fmla="*/ 94 h 95"/>
                  <a:gd name="T36" fmla="*/ 164 w 267"/>
                  <a:gd name="T37" fmla="*/ 48 h 95"/>
                  <a:gd name="T38" fmla="*/ 197 w 267"/>
                  <a:gd name="T39" fmla="*/ 48 h 95"/>
                  <a:gd name="T40" fmla="*/ 197 w 267"/>
                  <a:gd name="T41" fmla="*/ 89 h 95"/>
                  <a:gd name="T42" fmla="*/ 211 w 267"/>
                  <a:gd name="T43" fmla="*/ 85 h 95"/>
                  <a:gd name="T44" fmla="*/ 211 w 267"/>
                  <a:gd name="T45" fmla="*/ 48 h 95"/>
                  <a:gd name="T46" fmla="*/ 244 w 267"/>
                  <a:gd name="T47" fmla="*/ 48 h 95"/>
                  <a:gd name="T48" fmla="*/ 244 w 267"/>
                  <a:gd name="T49" fmla="*/ 74 h 95"/>
                  <a:gd name="T50" fmla="*/ 267 w 267"/>
                  <a:gd name="T51" fmla="*/ 63 h 95"/>
                  <a:gd name="T52" fmla="*/ 267 w 267"/>
                  <a:gd name="T53" fmla="*/ 59 h 95"/>
                  <a:gd name="T54" fmla="*/ 267 w 267"/>
                  <a:gd name="T55" fmla="*/ 59 h 95"/>
                  <a:gd name="T56" fmla="*/ 267 w 267"/>
                  <a:gd name="T57" fmla="*/ 33 h 95"/>
                  <a:gd name="T58" fmla="*/ 133 w 267"/>
                  <a:gd name="T59"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7" h="95">
                    <a:moveTo>
                      <a:pt x="133" y="0"/>
                    </a:moveTo>
                    <a:cubicBezTo>
                      <a:pt x="85" y="0"/>
                      <a:pt x="42" y="11"/>
                      <a:pt x="0" y="32"/>
                    </a:cubicBezTo>
                    <a:cubicBezTo>
                      <a:pt x="0" y="59"/>
                      <a:pt x="0" y="59"/>
                      <a:pt x="0" y="59"/>
                    </a:cubicBezTo>
                    <a:cubicBezTo>
                      <a:pt x="0" y="59"/>
                      <a:pt x="0" y="59"/>
                      <a:pt x="0" y="59"/>
                    </a:cubicBezTo>
                    <a:cubicBezTo>
                      <a:pt x="0" y="63"/>
                      <a:pt x="0" y="63"/>
                      <a:pt x="0" y="63"/>
                    </a:cubicBezTo>
                    <a:cubicBezTo>
                      <a:pt x="7" y="67"/>
                      <a:pt x="15" y="71"/>
                      <a:pt x="23" y="74"/>
                    </a:cubicBezTo>
                    <a:cubicBezTo>
                      <a:pt x="23" y="48"/>
                      <a:pt x="23" y="48"/>
                      <a:pt x="23" y="48"/>
                    </a:cubicBezTo>
                    <a:cubicBezTo>
                      <a:pt x="56" y="48"/>
                      <a:pt x="56" y="48"/>
                      <a:pt x="56" y="48"/>
                    </a:cubicBezTo>
                    <a:cubicBezTo>
                      <a:pt x="56" y="86"/>
                      <a:pt x="56" y="86"/>
                      <a:pt x="56" y="86"/>
                    </a:cubicBezTo>
                    <a:cubicBezTo>
                      <a:pt x="61" y="87"/>
                      <a:pt x="65" y="88"/>
                      <a:pt x="70" y="89"/>
                    </a:cubicBezTo>
                    <a:cubicBezTo>
                      <a:pt x="70" y="48"/>
                      <a:pt x="70" y="48"/>
                      <a:pt x="70" y="48"/>
                    </a:cubicBezTo>
                    <a:cubicBezTo>
                      <a:pt x="103" y="48"/>
                      <a:pt x="103" y="48"/>
                      <a:pt x="103" y="48"/>
                    </a:cubicBezTo>
                    <a:cubicBezTo>
                      <a:pt x="103" y="94"/>
                      <a:pt x="103" y="94"/>
                      <a:pt x="103" y="94"/>
                    </a:cubicBezTo>
                    <a:cubicBezTo>
                      <a:pt x="108" y="94"/>
                      <a:pt x="113" y="95"/>
                      <a:pt x="117" y="95"/>
                    </a:cubicBezTo>
                    <a:cubicBezTo>
                      <a:pt x="117" y="48"/>
                      <a:pt x="117" y="48"/>
                      <a:pt x="117" y="48"/>
                    </a:cubicBezTo>
                    <a:cubicBezTo>
                      <a:pt x="150" y="48"/>
                      <a:pt x="150" y="48"/>
                      <a:pt x="150" y="48"/>
                    </a:cubicBezTo>
                    <a:cubicBezTo>
                      <a:pt x="150" y="95"/>
                      <a:pt x="150" y="95"/>
                      <a:pt x="150" y="95"/>
                    </a:cubicBezTo>
                    <a:cubicBezTo>
                      <a:pt x="155" y="95"/>
                      <a:pt x="160" y="95"/>
                      <a:pt x="164" y="94"/>
                    </a:cubicBezTo>
                    <a:cubicBezTo>
                      <a:pt x="164" y="48"/>
                      <a:pt x="164" y="48"/>
                      <a:pt x="164" y="48"/>
                    </a:cubicBezTo>
                    <a:cubicBezTo>
                      <a:pt x="197" y="48"/>
                      <a:pt x="197" y="48"/>
                      <a:pt x="197" y="48"/>
                    </a:cubicBezTo>
                    <a:cubicBezTo>
                      <a:pt x="197" y="89"/>
                      <a:pt x="197" y="89"/>
                      <a:pt x="197" y="89"/>
                    </a:cubicBezTo>
                    <a:cubicBezTo>
                      <a:pt x="202" y="87"/>
                      <a:pt x="207" y="86"/>
                      <a:pt x="211" y="85"/>
                    </a:cubicBezTo>
                    <a:cubicBezTo>
                      <a:pt x="211" y="48"/>
                      <a:pt x="211" y="48"/>
                      <a:pt x="211" y="48"/>
                    </a:cubicBezTo>
                    <a:cubicBezTo>
                      <a:pt x="244" y="48"/>
                      <a:pt x="244" y="48"/>
                      <a:pt x="244" y="48"/>
                    </a:cubicBezTo>
                    <a:cubicBezTo>
                      <a:pt x="244" y="74"/>
                      <a:pt x="244" y="74"/>
                      <a:pt x="244" y="74"/>
                    </a:cubicBezTo>
                    <a:cubicBezTo>
                      <a:pt x="252" y="70"/>
                      <a:pt x="259" y="67"/>
                      <a:pt x="267" y="63"/>
                    </a:cubicBezTo>
                    <a:cubicBezTo>
                      <a:pt x="267" y="59"/>
                      <a:pt x="267" y="59"/>
                      <a:pt x="267" y="59"/>
                    </a:cubicBezTo>
                    <a:cubicBezTo>
                      <a:pt x="267" y="59"/>
                      <a:pt x="267" y="59"/>
                      <a:pt x="267" y="59"/>
                    </a:cubicBezTo>
                    <a:cubicBezTo>
                      <a:pt x="267" y="33"/>
                      <a:pt x="267" y="33"/>
                      <a:pt x="267" y="33"/>
                    </a:cubicBezTo>
                    <a:cubicBezTo>
                      <a:pt x="232" y="11"/>
                      <a:pt x="182" y="0"/>
                      <a:pt x="133" y="0"/>
                    </a:cubicBezTo>
                    <a:close/>
                  </a:path>
                </a:pathLst>
              </a:custGeom>
              <a:grpFill/>
              <a:ln>
                <a:noFill/>
              </a:ln>
            </p:spPr>
            <p:txBody>
              <a:bodyPr/>
              <a:lstStyle/>
              <a:p>
                <a:pPr>
                  <a:defRPr/>
                </a:pPr>
                <a:endParaRPr lang="en-US" kern="0" dirty="0">
                  <a:solidFill>
                    <a:sysClr val="windowText" lastClr="000000"/>
                  </a:solidFill>
                  <a:latin typeface="Arial"/>
                </a:endParaRPr>
              </a:p>
            </p:txBody>
          </p:sp>
          <p:sp>
            <p:nvSpPr>
              <p:cNvPr id="55" name="Freeform 165"/>
              <p:cNvSpPr>
                <a:spLocks noEditPoints="1"/>
              </p:cNvSpPr>
              <p:nvPr/>
            </p:nvSpPr>
            <p:spPr bwMode="ltGray">
              <a:xfrm>
                <a:off x="7461248" y="4723202"/>
                <a:ext cx="791430" cy="271211"/>
              </a:xfrm>
              <a:custGeom>
                <a:avLst/>
                <a:gdLst>
                  <a:gd name="T0" fmla="*/ 127 w 267"/>
                  <a:gd name="T1" fmla="*/ 32 h 91"/>
                  <a:gd name="T2" fmla="*/ 0 w 267"/>
                  <a:gd name="T3" fmla="*/ 0 h 91"/>
                  <a:gd name="T4" fmla="*/ 0 w 267"/>
                  <a:gd name="T5" fmla="*/ 91 h 91"/>
                  <a:gd name="T6" fmla="*/ 267 w 267"/>
                  <a:gd name="T7" fmla="*/ 91 h 91"/>
                  <a:gd name="T8" fmla="*/ 267 w 267"/>
                  <a:gd name="T9" fmla="*/ 0 h 91"/>
                  <a:gd name="T10" fmla="*/ 127 w 267"/>
                  <a:gd name="T11" fmla="*/ 32 h 91"/>
                  <a:gd name="T12" fmla="*/ 134 w 267"/>
                  <a:gd name="T13" fmla="*/ 68 h 91"/>
                  <a:gd name="T14" fmla="*/ 112 w 267"/>
                  <a:gd name="T15" fmla="*/ 69 h 91"/>
                  <a:gd name="T16" fmla="*/ 134 w 267"/>
                  <a:gd name="T17" fmla="*/ 50 h 91"/>
                  <a:gd name="T18" fmla="*/ 155 w 267"/>
                  <a:gd name="T19" fmla="*/ 69 h 91"/>
                  <a:gd name="T20" fmla="*/ 134 w 267"/>
                  <a:gd name="T21" fmla="*/ 6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7" h="91">
                    <a:moveTo>
                      <a:pt x="127" y="32"/>
                    </a:moveTo>
                    <a:cubicBezTo>
                      <a:pt x="79" y="32"/>
                      <a:pt x="36" y="21"/>
                      <a:pt x="0" y="0"/>
                    </a:cubicBezTo>
                    <a:cubicBezTo>
                      <a:pt x="0" y="91"/>
                      <a:pt x="0" y="91"/>
                      <a:pt x="0" y="91"/>
                    </a:cubicBezTo>
                    <a:cubicBezTo>
                      <a:pt x="267" y="91"/>
                      <a:pt x="267" y="91"/>
                      <a:pt x="267" y="91"/>
                    </a:cubicBezTo>
                    <a:cubicBezTo>
                      <a:pt x="267" y="0"/>
                      <a:pt x="267" y="0"/>
                      <a:pt x="267" y="0"/>
                    </a:cubicBezTo>
                    <a:cubicBezTo>
                      <a:pt x="224" y="20"/>
                      <a:pt x="175" y="32"/>
                      <a:pt x="127" y="32"/>
                    </a:cubicBezTo>
                    <a:close/>
                    <a:moveTo>
                      <a:pt x="134" y="68"/>
                    </a:moveTo>
                    <a:cubicBezTo>
                      <a:pt x="126" y="68"/>
                      <a:pt x="119" y="68"/>
                      <a:pt x="112" y="69"/>
                    </a:cubicBezTo>
                    <a:cubicBezTo>
                      <a:pt x="113" y="58"/>
                      <a:pt x="122" y="50"/>
                      <a:pt x="134" y="50"/>
                    </a:cubicBezTo>
                    <a:cubicBezTo>
                      <a:pt x="145" y="50"/>
                      <a:pt x="154" y="58"/>
                      <a:pt x="155" y="69"/>
                    </a:cubicBezTo>
                    <a:cubicBezTo>
                      <a:pt x="148" y="68"/>
                      <a:pt x="141" y="68"/>
                      <a:pt x="134" y="68"/>
                    </a:cubicBezTo>
                    <a:close/>
                  </a:path>
                </a:pathLst>
              </a:custGeom>
              <a:grpFill/>
              <a:ln>
                <a:noFill/>
              </a:ln>
            </p:spPr>
            <p:txBody>
              <a:bodyPr/>
              <a:lstStyle/>
              <a:p>
                <a:pPr>
                  <a:defRPr/>
                </a:pPr>
                <a:endParaRPr lang="en-US" kern="0" dirty="0">
                  <a:solidFill>
                    <a:sysClr val="windowText" lastClr="000000"/>
                  </a:solidFill>
                  <a:latin typeface="Arial"/>
                </a:endParaRPr>
              </a:p>
            </p:txBody>
          </p:sp>
        </p:grpSp>
        <p:sp>
          <p:nvSpPr>
            <p:cNvPr id="23" name="Freeform 210"/>
            <p:cNvSpPr>
              <a:spLocks/>
            </p:cNvSpPr>
            <p:nvPr/>
          </p:nvSpPr>
          <p:spPr bwMode="ltGray">
            <a:xfrm rot="3484613" flipH="1">
              <a:off x="3064617" y="5444564"/>
              <a:ext cx="282543" cy="196811"/>
            </a:xfrm>
            <a:custGeom>
              <a:avLst/>
              <a:gdLst>
                <a:gd name="T0" fmla="*/ 215 w 215"/>
                <a:gd name="T1" fmla="*/ 68 h 149"/>
                <a:gd name="T2" fmla="*/ 186 w 215"/>
                <a:gd name="T3" fmla="*/ 79 h 149"/>
                <a:gd name="T4" fmla="*/ 143 w 215"/>
                <a:gd name="T5" fmla="*/ 63 h 149"/>
                <a:gd name="T6" fmla="*/ 121 w 215"/>
                <a:gd name="T7" fmla="*/ 28 h 149"/>
                <a:gd name="T8" fmla="*/ 64 w 215"/>
                <a:gd name="T9" fmla="*/ 4 h 149"/>
                <a:gd name="T10" fmla="*/ 25 w 215"/>
                <a:gd name="T11" fmla="*/ 98 h 149"/>
                <a:gd name="T12" fmla="*/ 181 w 215"/>
                <a:gd name="T13" fmla="*/ 105 h 149"/>
                <a:gd name="T14" fmla="*/ 215 w 215"/>
                <a:gd name="T15" fmla="*/ 68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149">
                  <a:moveTo>
                    <a:pt x="215" y="68"/>
                  </a:moveTo>
                  <a:cubicBezTo>
                    <a:pt x="206" y="75"/>
                    <a:pt x="194" y="78"/>
                    <a:pt x="186" y="79"/>
                  </a:cubicBezTo>
                  <a:cubicBezTo>
                    <a:pt x="170" y="81"/>
                    <a:pt x="153" y="76"/>
                    <a:pt x="143" y="63"/>
                  </a:cubicBezTo>
                  <a:cubicBezTo>
                    <a:pt x="134" y="52"/>
                    <a:pt x="129" y="39"/>
                    <a:pt x="121" y="28"/>
                  </a:cubicBezTo>
                  <a:cubicBezTo>
                    <a:pt x="107" y="11"/>
                    <a:pt x="86" y="0"/>
                    <a:pt x="64" y="4"/>
                  </a:cubicBezTo>
                  <a:cubicBezTo>
                    <a:pt x="20" y="12"/>
                    <a:pt x="0" y="63"/>
                    <a:pt x="25" y="98"/>
                  </a:cubicBezTo>
                  <a:cubicBezTo>
                    <a:pt x="60" y="149"/>
                    <a:pt x="140" y="140"/>
                    <a:pt x="181" y="105"/>
                  </a:cubicBezTo>
                  <a:cubicBezTo>
                    <a:pt x="193" y="94"/>
                    <a:pt x="205" y="82"/>
                    <a:pt x="215" y="68"/>
                  </a:cubicBezTo>
                </a:path>
              </a:pathLst>
            </a:custGeom>
            <a:solidFill>
              <a:srgbClr val="FCD116"/>
            </a:solidFill>
            <a:ln>
              <a:noFill/>
            </a:ln>
          </p:spPr>
          <p:txBody>
            <a:bodyPr/>
            <a:lstStyle/>
            <a:p>
              <a:pPr>
                <a:defRPr/>
              </a:pPr>
              <a:endParaRPr lang="en-US" kern="0" dirty="0">
                <a:solidFill>
                  <a:sysClr val="windowText" lastClr="000000"/>
                </a:solidFill>
                <a:latin typeface="Arial"/>
              </a:endParaRPr>
            </a:p>
          </p:txBody>
        </p:sp>
        <p:grpSp>
          <p:nvGrpSpPr>
            <p:cNvPr id="24" name="Group 23"/>
            <p:cNvGrpSpPr/>
            <p:nvPr/>
          </p:nvGrpSpPr>
          <p:grpSpPr bwMode="ltGray">
            <a:xfrm rot="20599377">
              <a:off x="4246376" y="4815407"/>
              <a:ext cx="473311" cy="513537"/>
              <a:chOff x="5282834" y="4061827"/>
              <a:chExt cx="1035679" cy="1123703"/>
            </a:xfrm>
            <a:solidFill>
              <a:srgbClr val="FCD116"/>
            </a:solidFill>
          </p:grpSpPr>
          <p:sp>
            <p:nvSpPr>
              <p:cNvPr id="51" name="Freeform 158"/>
              <p:cNvSpPr>
                <a:spLocks noEditPoints="1"/>
              </p:cNvSpPr>
              <p:nvPr/>
            </p:nvSpPr>
            <p:spPr bwMode="ltGray">
              <a:xfrm>
                <a:off x="5282834" y="4538429"/>
                <a:ext cx="1035679" cy="647101"/>
              </a:xfrm>
              <a:custGeom>
                <a:avLst/>
                <a:gdLst>
                  <a:gd name="T0" fmla="*/ 283 w 297"/>
                  <a:gd name="T1" fmla="*/ 32 h 186"/>
                  <a:gd name="T2" fmla="*/ 249 w 297"/>
                  <a:gd name="T3" fmla="*/ 17 h 186"/>
                  <a:gd name="T4" fmla="*/ 230 w 297"/>
                  <a:gd name="T5" fmla="*/ 21 h 186"/>
                  <a:gd name="T6" fmla="*/ 230 w 297"/>
                  <a:gd name="T7" fmla="*/ 0 h 186"/>
                  <a:gd name="T8" fmla="*/ 3 w 297"/>
                  <a:gd name="T9" fmla="*/ 0 h 186"/>
                  <a:gd name="T10" fmla="*/ 9 w 297"/>
                  <a:gd name="T11" fmla="*/ 122 h 186"/>
                  <a:gd name="T12" fmla="*/ 104 w 297"/>
                  <a:gd name="T13" fmla="*/ 186 h 186"/>
                  <a:gd name="T14" fmla="*/ 104 w 297"/>
                  <a:gd name="T15" fmla="*/ 186 h 186"/>
                  <a:gd name="T16" fmla="*/ 128 w 297"/>
                  <a:gd name="T17" fmla="*/ 186 h 186"/>
                  <a:gd name="T18" fmla="*/ 128 w 297"/>
                  <a:gd name="T19" fmla="*/ 186 h 186"/>
                  <a:gd name="T20" fmla="*/ 221 w 297"/>
                  <a:gd name="T21" fmla="*/ 128 h 186"/>
                  <a:gd name="T22" fmla="*/ 227 w 297"/>
                  <a:gd name="T23" fmla="*/ 129 h 186"/>
                  <a:gd name="T24" fmla="*/ 297 w 297"/>
                  <a:gd name="T25" fmla="*/ 66 h 186"/>
                  <a:gd name="T26" fmla="*/ 283 w 297"/>
                  <a:gd name="T27" fmla="*/ 32 h 186"/>
                  <a:gd name="T28" fmla="*/ 227 w 297"/>
                  <a:gd name="T29" fmla="*/ 105 h 186"/>
                  <a:gd name="T30" fmla="*/ 230 w 297"/>
                  <a:gd name="T31" fmla="*/ 49 h 186"/>
                  <a:gd name="T32" fmla="*/ 238 w 297"/>
                  <a:gd name="T33" fmla="*/ 43 h 186"/>
                  <a:gd name="T34" fmla="*/ 274 w 297"/>
                  <a:gd name="T35" fmla="*/ 66 h 186"/>
                  <a:gd name="T36" fmla="*/ 227 w 297"/>
                  <a:gd name="T37" fmla="*/ 10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7" h="186">
                    <a:moveTo>
                      <a:pt x="283" y="32"/>
                    </a:moveTo>
                    <a:cubicBezTo>
                      <a:pt x="274" y="22"/>
                      <a:pt x="261" y="17"/>
                      <a:pt x="249" y="17"/>
                    </a:cubicBezTo>
                    <a:cubicBezTo>
                      <a:pt x="242" y="17"/>
                      <a:pt x="236" y="18"/>
                      <a:pt x="230" y="21"/>
                    </a:cubicBezTo>
                    <a:cubicBezTo>
                      <a:pt x="230" y="11"/>
                      <a:pt x="230" y="4"/>
                      <a:pt x="230" y="0"/>
                    </a:cubicBezTo>
                    <a:cubicBezTo>
                      <a:pt x="3" y="0"/>
                      <a:pt x="3" y="0"/>
                      <a:pt x="3" y="0"/>
                    </a:cubicBezTo>
                    <a:cubicBezTo>
                      <a:pt x="3" y="0"/>
                      <a:pt x="0" y="99"/>
                      <a:pt x="9" y="122"/>
                    </a:cubicBezTo>
                    <a:cubicBezTo>
                      <a:pt x="26" y="167"/>
                      <a:pt x="57" y="185"/>
                      <a:pt x="104" y="186"/>
                    </a:cubicBezTo>
                    <a:cubicBezTo>
                      <a:pt x="104" y="186"/>
                      <a:pt x="104" y="186"/>
                      <a:pt x="104" y="186"/>
                    </a:cubicBezTo>
                    <a:cubicBezTo>
                      <a:pt x="105" y="186"/>
                      <a:pt x="128" y="186"/>
                      <a:pt x="128" y="186"/>
                    </a:cubicBezTo>
                    <a:cubicBezTo>
                      <a:pt x="128" y="186"/>
                      <a:pt x="128" y="186"/>
                      <a:pt x="128" y="186"/>
                    </a:cubicBezTo>
                    <a:cubicBezTo>
                      <a:pt x="173" y="185"/>
                      <a:pt x="203" y="169"/>
                      <a:pt x="221" y="128"/>
                    </a:cubicBezTo>
                    <a:cubicBezTo>
                      <a:pt x="223" y="128"/>
                      <a:pt x="225" y="129"/>
                      <a:pt x="227" y="129"/>
                    </a:cubicBezTo>
                    <a:cubicBezTo>
                      <a:pt x="261" y="129"/>
                      <a:pt x="297" y="104"/>
                      <a:pt x="297" y="66"/>
                    </a:cubicBezTo>
                    <a:cubicBezTo>
                      <a:pt x="297" y="53"/>
                      <a:pt x="292" y="41"/>
                      <a:pt x="283" y="32"/>
                    </a:cubicBezTo>
                    <a:close/>
                    <a:moveTo>
                      <a:pt x="227" y="105"/>
                    </a:moveTo>
                    <a:cubicBezTo>
                      <a:pt x="229" y="90"/>
                      <a:pt x="230" y="69"/>
                      <a:pt x="230" y="49"/>
                    </a:cubicBezTo>
                    <a:cubicBezTo>
                      <a:pt x="232" y="47"/>
                      <a:pt x="235" y="44"/>
                      <a:pt x="238" y="43"/>
                    </a:cubicBezTo>
                    <a:cubicBezTo>
                      <a:pt x="255" y="35"/>
                      <a:pt x="274" y="48"/>
                      <a:pt x="274" y="66"/>
                    </a:cubicBezTo>
                    <a:cubicBezTo>
                      <a:pt x="274" y="90"/>
                      <a:pt x="249" y="105"/>
                      <a:pt x="227" y="105"/>
                    </a:cubicBezTo>
                    <a:close/>
                  </a:path>
                </a:pathLst>
              </a:custGeom>
              <a:grpFill/>
              <a:ln>
                <a:noFill/>
              </a:ln>
            </p:spPr>
            <p:txBody>
              <a:bodyPr/>
              <a:lstStyle/>
              <a:p>
                <a:pPr>
                  <a:defRPr/>
                </a:pPr>
                <a:endParaRPr lang="en-US" kern="0" dirty="0">
                  <a:solidFill>
                    <a:sysClr val="windowText" lastClr="000000"/>
                  </a:solidFill>
                  <a:latin typeface="Arial"/>
                </a:endParaRPr>
              </a:p>
            </p:txBody>
          </p:sp>
          <p:sp>
            <p:nvSpPr>
              <p:cNvPr id="52" name="Freeform 159"/>
              <p:cNvSpPr>
                <a:spLocks/>
              </p:cNvSpPr>
              <p:nvPr/>
            </p:nvSpPr>
            <p:spPr bwMode="ltGray">
              <a:xfrm>
                <a:off x="5662688" y="4061827"/>
                <a:ext cx="432194" cy="399680"/>
              </a:xfrm>
              <a:custGeom>
                <a:avLst/>
                <a:gdLst>
                  <a:gd name="T0" fmla="*/ 3 w 124"/>
                  <a:gd name="T1" fmla="*/ 115 h 115"/>
                  <a:gd name="T2" fmla="*/ 11 w 124"/>
                  <a:gd name="T3" fmla="*/ 95 h 115"/>
                  <a:gd name="T4" fmla="*/ 40 w 124"/>
                  <a:gd name="T5" fmla="*/ 81 h 115"/>
                  <a:gd name="T6" fmla="*/ 67 w 124"/>
                  <a:gd name="T7" fmla="*/ 87 h 115"/>
                  <a:gd name="T8" fmla="*/ 107 w 124"/>
                  <a:gd name="T9" fmla="*/ 71 h 115"/>
                  <a:gd name="T10" fmla="*/ 79 w 124"/>
                  <a:gd name="T11" fmla="*/ 7 h 115"/>
                  <a:gd name="T12" fmla="*/ 1 w 124"/>
                  <a:gd name="T13" fmla="*/ 80 h 115"/>
                  <a:gd name="T14" fmla="*/ 3 w 124"/>
                  <a:gd name="T15" fmla="*/ 115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115">
                    <a:moveTo>
                      <a:pt x="3" y="115"/>
                    </a:moveTo>
                    <a:cubicBezTo>
                      <a:pt x="3" y="107"/>
                      <a:pt x="8" y="99"/>
                      <a:pt x="11" y="95"/>
                    </a:cubicBezTo>
                    <a:cubicBezTo>
                      <a:pt x="18" y="86"/>
                      <a:pt x="28" y="80"/>
                      <a:pt x="40" y="81"/>
                    </a:cubicBezTo>
                    <a:cubicBezTo>
                      <a:pt x="49" y="82"/>
                      <a:pt x="58" y="86"/>
                      <a:pt x="67" y="87"/>
                    </a:cubicBezTo>
                    <a:cubicBezTo>
                      <a:pt x="82" y="89"/>
                      <a:pt x="98" y="84"/>
                      <a:pt x="107" y="71"/>
                    </a:cubicBezTo>
                    <a:cubicBezTo>
                      <a:pt x="124" y="46"/>
                      <a:pt x="108" y="12"/>
                      <a:pt x="79" y="7"/>
                    </a:cubicBezTo>
                    <a:cubicBezTo>
                      <a:pt x="37" y="0"/>
                      <a:pt x="3" y="43"/>
                      <a:pt x="1" y="80"/>
                    </a:cubicBezTo>
                    <a:cubicBezTo>
                      <a:pt x="0" y="91"/>
                      <a:pt x="0" y="103"/>
                      <a:pt x="3" y="115"/>
                    </a:cubicBezTo>
                  </a:path>
                </a:pathLst>
              </a:custGeom>
              <a:grpFill/>
              <a:ln>
                <a:noFill/>
              </a:ln>
            </p:spPr>
            <p:txBody>
              <a:bodyPr/>
              <a:lstStyle/>
              <a:p>
                <a:pPr>
                  <a:defRPr/>
                </a:pPr>
                <a:endParaRPr lang="en-US" kern="0" dirty="0">
                  <a:solidFill>
                    <a:sysClr val="windowText" lastClr="000000"/>
                  </a:solidFill>
                  <a:latin typeface="Arial"/>
                </a:endParaRPr>
              </a:p>
            </p:txBody>
          </p:sp>
          <p:sp>
            <p:nvSpPr>
              <p:cNvPr id="53" name="Freeform 160"/>
              <p:cNvSpPr>
                <a:spLocks/>
              </p:cNvSpPr>
              <p:nvPr/>
            </p:nvSpPr>
            <p:spPr bwMode="ltGray">
              <a:xfrm>
                <a:off x="5373237" y="4249772"/>
                <a:ext cx="244249" cy="236319"/>
              </a:xfrm>
              <a:custGeom>
                <a:avLst/>
                <a:gdLst>
                  <a:gd name="T0" fmla="*/ 70 w 70"/>
                  <a:gd name="T1" fmla="*/ 61 h 68"/>
                  <a:gd name="T2" fmla="*/ 57 w 70"/>
                  <a:gd name="T3" fmla="*/ 58 h 68"/>
                  <a:gd name="T4" fmla="*/ 47 w 70"/>
                  <a:gd name="T5" fmla="*/ 43 h 68"/>
                  <a:gd name="T6" fmla="*/ 47 w 70"/>
                  <a:gd name="T7" fmla="*/ 27 h 68"/>
                  <a:gd name="T8" fmla="*/ 33 w 70"/>
                  <a:gd name="T9" fmla="*/ 7 h 68"/>
                  <a:gd name="T10" fmla="*/ 0 w 70"/>
                  <a:gd name="T11" fmla="*/ 30 h 68"/>
                  <a:gd name="T12" fmla="*/ 50 w 70"/>
                  <a:gd name="T13" fmla="*/ 66 h 68"/>
                  <a:gd name="T14" fmla="*/ 70 w 70"/>
                  <a:gd name="T15" fmla="*/ 61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8">
                    <a:moveTo>
                      <a:pt x="70" y="61"/>
                    </a:moveTo>
                    <a:cubicBezTo>
                      <a:pt x="65" y="61"/>
                      <a:pt x="60" y="60"/>
                      <a:pt x="57" y="58"/>
                    </a:cubicBezTo>
                    <a:cubicBezTo>
                      <a:pt x="52" y="55"/>
                      <a:pt x="47" y="50"/>
                      <a:pt x="47" y="43"/>
                    </a:cubicBezTo>
                    <a:cubicBezTo>
                      <a:pt x="46" y="38"/>
                      <a:pt x="47" y="33"/>
                      <a:pt x="47" y="27"/>
                    </a:cubicBezTo>
                    <a:cubicBezTo>
                      <a:pt x="46" y="19"/>
                      <a:pt x="42" y="10"/>
                      <a:pt x="33" y="7"/>
                    </a:cubicBezTo>
                    <a:cubicBezTo>
                      <a:pt x="17" y="0"/>
                      <a:pt x="0" y="13"/>
                      <a:pt x="0" y="30"/>
                    </a:cubicBezTo>
                    <a:cubicBezTo>
                      <a:pt x="1" y="54"/>
                      <a:pt x="29" y="68"/>
                      <a:pt x="50" y="66"/>
                    </a:cubicBezTo>
                    <a:cubicBezTo>
                      <a:pt x="57" y="65"/>
                      <a:pt x="63" y="63"/>
                      <a:pt x="70" y="61"/>
                    </a:cubicBezTo>
                  </a:path>
                </a:pathLst>
              </a:custGeom>
              <a:grpFill/>
              <a:ln>
                <a:noFill/>
              </a:ln>
            </p:spPr>
            <p:txBody>
              <a:bodyPr/>
              <a:lstStyle/>
              <a:p>
                <a:pPr>
                  <a:defRPr/>
                </a:pPr>
                <a:endParaRPr lang="en-US" kern="0" dirty="0">
                  <a:solidFill>
                    <a:sysClr val="windowText" lastClr="000000"/>
                  </a:solidFill>
                  <a:latin typeface="Arial"/>
                </a:endParaRPr>
              </a:p>
            </p:txBody>
          </p:sp>
        </p:grpSp>
        <p:sp>
          <p:nvSpPr>
            <p:cNvPr id="25" name="Freeform 39"/>
            <p:cNvSpPr>
              <a:spLocks/>
            </p:cNvSpPr>
            <p:nvPr/>
          </p:nvSpPr>
          <p:spPr bwMode="ltGray">
            <a:xfrm rot="-1800000">
              <a:off x="5211592" y="5877999"/>
              <a:ext cx="248733" cy="359914"/>
            </a:xfrm>
            <a:custGeom>
              <a:avLst/>
              <a:gdLst>
                <a:gd name="T0" fmla="*/ 233363 w 554038"/>
                <a:gd name="T1" fmla="*/ 242888 h 801688"/>
                <a:gd name="T2" fmla="*/ 260097 w 554038"/>
                <a:gd name="T3" fmla="*/ 455613 h 801688"/>
                <a:gd name="T4" fmla="*/ 263917 w 554038"/>
                <a:gd name="T5" fmla="*/ 451815 h 801688"/>
                <a:gd name="T6" fmla="*/ 302109 w 554038"/>
                <a:gd name="T7" fmla="*/ 417627 h 801688"/>
                <a:gd name="T8" fmla="*/ 336481 w 554038"/>
                <a:gd name="T9" fmla="*/ 387237 h 801688"/>
                <a:gd name="T10" fmla="*/ 431962 w 554038"/>
                <a:gd name="T11" fmla="*/ 353049 h 801688"/>
                <a:gd name="T12" fmla="*/ 477792 w 554038"/>
                <a:gd name="T13" fmla="*/ 360647 h 801688"/>
                <a:gd name="T14" fmla="*/ 496888 w 554038"/>
                <a:gd name="T15" fmla="*/ 242888 h 801688"/>
                <a:gd name="T16" fmla="*/ 233363 w 554038"/>
                <a:gd name="T17" fmla="*/ 242888 h 801688"/>
                <a:gd name="T18" fmla="*/ 133350 w 554038"/>
                <a:gd name="T19" fmla="*/ 242888 h 801688"/>
                <a:gd name="T20" fmla="*/ 168137 w 554038"/>
                <a:gd name="T21" fmla="*/ 460672 h 801688"/>
                <a:gd name="T22" fmla="*/ 206789 w 554038"/>
                <a:gd name="T23" fmla="*/ 468313 h 801688"/>
                <a:gd name="T24" fmla="*/ 222250 w 554038"/>
                <a:gd name="T25" fmla="*/ 468313 h 801688"/>
                <a:gd name="T26" fmla="*/ 195193 w 554038"/>
                <a:gd name="T27" fmla="*/ 242888 h 801688"/>
                <a:gd name="T28" fmla="*/ 133350 w 554038"/>
                <a:gd name="T29" fmla="*/ 242888 h 801688"/>
                <a:gd name="T30" fmla="*/ 11113 w 554038"/>
                <a:gd name="T31" fmla="*/ 0 h 801688"/>
                <a:gd name="T32" fmla="*/ 211138 w 554038"/>
                <a:gd name="T33" fmla="*/ 73025 h 801688"/>
                <a:gd name="T34" fmla="*/ 225425 w 554038"/>
                <a:gd name="T35" fmla="*/ 193675 h 801688"/>
                <a:gd name="T36" fmla="*/ 554038 w 554038"/>
                <a:gd name="T37" fmla="*/ 193675 h 801688"/>
                <a:gd name="T38" fmla="*/ 466725 w 554038"/>
                <a:gd name="T39" fmla="*/ 801688 h 801688"/>
                <a:gd name="T40" fmla="*/ 168275 w 554038"/>
                <a:gd name="T41" fmla="*/ 801688 h 801688"/>
                <a:gd name="T42" fmla="*/ 76200 w 554038"/>
                <a:gd name="T43" fmla="*/ 193675 h 801688"/>
                <a:gd name="T44" fmla="*/ 187325 w 554038"/>
                <a:gd name="T45" fmla="*/ 193675 h 801688"/>
                <a:gd name="T46" fmla="*/ 176213 w 554038"/>
                <a:gd name="T47" fmla="*/ 98425 h 801688"/>
                <a:gd name="T48" fmla="*/ 0 w 554038"/>
                <a:gd name="T49" fmla="*/ 34925 h 801688"/>
                <a:gd name="T50" fmla="*/ 11113 w 554038"/>
                <a:gd name="T51" fmla="*/ 0 h 80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4038" h="801688">
                  <a:moveTo>
                    <a:pt x="233363" y="242888"/>
                  </a:moveTo>
                  <a:cubicBezTo>
                    <a:pt x="233363" y="242888"/>
                    <a:pt x="233363" y="242888"/>
                    <a:pt x="260097" y="455613"/>
                  </a:cubicBezTo>
                  <a:cubicBezTo>
                    <a:pt x="260097" y="451822"/>
                    <a:pt x="263901" y="451815"/>
                    <a:pt x="263917" y="451815"/>
                  </a:cubicBezTo>
                  <a:cubicBezTo>
                    <a:pt x="279193" y="444217"/>
                    <a:pt x="290651" y="432821"/>
                    <a:pt x="302109" y="417627"/>
                  </a:cubicBezTo>
                  <a:cubicBezTo>
                    <a:pt x="313566" y="406231"/>
                    <a:pt x="325024" y="394835"/>
                    <a:pt x="336481" y="387237"/>
                  </a:cubicBezTo>
                  <a:cubicBezTo>
                    <a:pt x="367035" y="364445"/>
                    <a:pt x="401408" y="353049"/>
                    <a:pt x="431962" y="353049"/>
                  </a:cubicBezTo>
                  <a:lnTo>
                    <a:pt x="477792" y="360647"/>
                  </a:lnTo>
                  <a:cubicBezTo>
                    <a:pt x="477792" y="360647"/>
                    <a:pt x="477792" y="360647"/>
                    <a:pt x="496888" y="242888"/>
                  </a:cubicBezTo>
                  <a:cubicBezTo>
                    <a:pt x="496888" y="242888"/>
                    <a:pt x="496888" y="242888"/>
                    <a:pt x="233363" y="242888"/>
                  </a:cubicBezTo>
                  <a:close/>
                  <a:moveTo>
                    <a:pt x="133350" y="242888"/>
                  </a:moveTo>
                  <a:cubicBezTo>
                    <a:pt x="133352" y="242902"/>
                    <a:pt x="133628" y="244628"/>
                    <a:pt x="168137" y="460672"/>
                  </a:cubicBezTo>
                  <a:cubicBezTo>
                    <a:pt x="179733" y="468313"/>
                    <a:pt x="195193" y="468313"/>
                    <a:pt x="206789" y="468313"/>
                  </a:cubicBezTo>
                  <a:cubicBezTo>
                    <a:pt x="214520" y="468313"/>
                    <a:pt x="218385" y="468313"/>
                    <a:pt x="222250" y="468313"/>
                  </a:cubicBezTo>
                  <a:cubicBezTo>
                    <a:pt x="222248" y="468299"/>
                    <a:pt x="222035" y="466525"/>
                    <a:pt x="195193" y="242888"/>
                  </a:cubicBezTo>
                  <a:cubicBezTo>
                    <a:pt x="195181" y="242888"/>
                    <a:pt x="194319" y="242888"/>
                    <a:pt x="133350" y="242888"/>
                  </a:cubicBezTo>
                  <a:close/>
                  <a:moveTo>
                    <a:pt x="11113" y="0"/>
                  </a:moveTo>
                  <a:lnTo>
                    <a:pt x="211138" y="73025"/>
                  </a:lnTo>
                  <a:lnTo>
                    <a:pt x="225425" y="193675"/>
                  </a:lnTo>
                  <a:lnTo>
                    <a:pt x="554038" y="193675"/>
                  </a:lnTo>
                  <a:lnTo>
                    <a:pt x="466725" y="801688"/>
                  </a:lnTo>
                  <a:lnTo>
                    <a:pt x="168275" y="801688"/>
                  </a:lnTo>
                  <a:lnTo>
                    <a:pt x="76200" y="193675"/>
                  </a:lnTo>
                  <a:lnTo>
                    <a:pt x="187325" y="193675"/>
                  </a:lnTo>
                  <a:lnTo>
                    <a:pt x="176213" y="98425"/>
                  </a:lnTo>
                  <a:lnTo>
                    <a:pt x="0" y="34925"/>
                  </a:lnTo>
                  <a:lnTo>
                    <a:pt x="11113" y="0"/>
                  </a:lnTo>
                  <a:close/>
                </a:path>
              </a:pathLst>
            </a:custGeom>
            <a:solidFill>
              <a:srgbClr val="F358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dirty="0">
                <a:solidFill>
                  <a:sysClr val="windowText" lastClr="000000"/>
                </a:solidFill>
              </a:endParaRPr>
            </a:p>
          </p:txBody>
        </p:sp>
        <p:grpSp>
          <p:nvGrpSpPr>
            <p:cNvPr id="26" name="Group 25"/>
            <p:cNvGrpSpPr/>
            <p:nvPr/>
          </p:nvGrpSpPr>
          <p:grpSpPr bwMode="ltGray">
            <a:xfrm rot="1419656">
              <a:off x="4861396" y="5510771"/>
              <a:ext cx="506682" cy="300388"/>
              <a:chOff x="6573070" y="5804875"/>
              <a:chExt cx="954791" cy="566050"/>
            </a:xfrm>
            <a:solidFill>
              <a:srgbClr val="4F2170"/>
            </a:solidFill>
          </p:grpSpPr>
          <p:sp>
            <p:nvSpPr>
              <p:cNvPr id="44" name="Freeform 50"/>
              <p:cNvSpPr>
                <a:spLocks/>
              </p:cNvSpPr>
              <p:nvPr/>
            </p:nvSpPr>
            <p:spPr bwMode="ltGray">
              <a:xfrm>
                <a:off x="7071542" y="6213689"/>
                <a:ext cx="202734" cy="157236"/>
              </a:xfrm>
              <a:custGeom>
                <a:avLst/>
                <a:gdLst>
                  <a:gd name="T0" fmla="*/ 52 w 52"/>
                  <a:gd name="T1" fmla="*/ 6 h 40"/>
                  <a:gd name="T2" fmla="*/ 46 w 52"/>
                  <a:gd name="T3" fmla="*/ 0 h 40"/>
                  <a:gd name="T4" fmla="*/ 6 w 52"/>
                  <a:gd name="T5" fmla="*/ 0 h 40"/>
                  <a:gd name="T6" fmla="*/ 0 w 52"/>
                  <a:gd name="T7" fmla="*/ 6 h 40"/>
                  <a:gd name="T8" fmla="*/ 0 w 52"/>
                  <a:gd name="T9" fmla="*/ 34 h 40"/>
                  <a:gd name="T10" fmla="*/ 6 w 52"/>
                  <a:gd name="T11" fmla="*/ 40 h 40"/>
                  <a:gd name="T12" fmla="*/ 46 w 52"/>
                  <a:gd name="T13" fmla="*/ 40 h 40"/>
                  <a:gd name="T14" fmla="*/ 52 w 52"/>
                  <a:gd name="T15" fmla="*/ 34 h 40"/>
                  <a:gd name="T16" fmla="*/ 52 w 52"/>
                  <a:gd name="T17"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0">
                    <a:moveTo>
                      <a:pt x="52" y="6"/>
                    </a:moveTo>
                    <a:cubicBezTo>
                      <a:pt x="52" y="2"/>
                      <a:pt x="49" y="0"/>
                      <a:pt x="46" y="0"/>
                    </a:cubicBezTo>
                    <a:cubicBezTo>
                      <a:pt x="6" y="0"/>
                      <a:pt x="6" y="0"/>
                      <a:pt x="6" y="0"/>
                    </a:cubicBezTo>
                    <a:cubicBezTo>
                      <a:pt x="3" y="0"/>
                      <a:pt x="0" y="2"/>
                      <a:pt x="0" y="6"/>
                    </a:cubicBezTo>
                    <a:cubicBezTo>
                      <a:pt x="0" y="34"/>
                      <a:pt x="0" y="34"/>
                      <a:pt x="0" y="34"/>
                    </a:cubicBezTo>
                    <a:cubicBezTo>
                      <a:pt x="0" y="37"/>
                      <a:pt x="3" y="40"/>
                      <a:pt x="6" y="40"/>
                    </a:cubicBezTo>
                    <a:cubicBezTo>
                      <a:pt x="46" y="40"/>
                      <a:pt x="46" y="40"/>
                      <a:pt x="46" y="40"/>
                    </a:cubicBezTo>
                    <a:cubicBezTo>
                      <a:pt x="49" y="40"/>
                      <a:pt x="52" y="37"/>
                      <a:pt x="52" y="34"/>
                    </a:cubicBezTo>
                    <a:lnTo>
                      <a:pt x="52" y="6"/>
                    </a:lnTo>
                    <a:close/>
                  </a:path>
                </a:pathLst>
              </a:custGeom>
              <a:grpFill/>
              <a:ln>
                <a:noFill/>
              </a:ln>
            </p:spPr>
            <p:txBody>
              <a:bodyPr/>
              <a:lstStyle/>
              <a:p>
                <a:pPr>
                  <a:defRPr/>
                </a:pPr>
                <a:endParaRPr lang="en-US" kern="0" dirty="0">
                  <a:solidFill>
                    <a:sysClr val="windowText" lastClr="000000"/>
                  </a:solidFill>
                  <a:latin typeface="Arial"/>
                </a:endParaRPr>
              </a:p>
            </p:txBody>
          </p:sp>
          <p:sp>
            <p:nvSpPr>
              <p:cNvPr id="45" name="Freeform 51"/>
              <p:cNvSpPr>
                <a:spLocks/>
              </p:cNvSpPr>
              <p:nvPr/>
            </p:nvSpPr>
            <p:spPr bwMode="ltGray">
              <a:xfrm>
                <a:off x="7071542" y="6013631"/>
                <a:ext cx="202734" cy="157236"/>
              </a:xfrm>
              <a:custGeom>
                <a:avLst/>
                <a:gdLst>
                  <a:gd name="T0" fmla="*/ 52 w 52"/>
                  <a:gd name="T1" fmla="*/ 6 h 40"/>
                  <a:gd name="T2" fmla="*/ 46 w 52"/>
                  <a:gd name="T3" fmla="*/ 0 h 40"/>
                  <a:gd name="T4" fmla="*/ 6 w 52"/>
                  <a:gd name="T5" fmla="*/ 0 h 40"/>
                  <a:gd name="T6" fmla="*/ 0 w 52"/>
                  <a:gd name="T7" fmla="*/ 6 h 40"/>
                  <a:gd name="T8" fmla="*/ 0 w 52"/>
                  <a:gd name="T9" fmla="*/ 34 h 40"/>
                  <a:gd name="T10" fmla="*/ 6 w 52"/>
                  <a:gd name="T11" fmla="*/ 40 h 40"/>
                  <a:gd name="T12" fmla="*/ 46 w 52"/>
                  <a:gd name="T13" fmla="*/ 40 h 40"/>
                  <a:gd name="T14" fmla="*/ 52 w 52"/>
                  <a:gd name="T15" fmla="*/ 34 h 40"/>
                  <a:gd name="T16" fmla="*/ 52 w 52"/>
                  <a:gd name="T17"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0">
                    <a:moveTo>
                      <a:pt x="52" y="6"/>
                    </a:moveTo>
                    <a:cubicBezTo>
                      <a:pt x="52" y="2"/>
                      <a:pt x="49" y="0"/>
                      <a:pt x="46" y="0"/>
                    </a:cubicBezTo>
                    <a:cubicBezTo>
                      <a:pt x="6" y="0"/>
                      <a:pt x="6" y="0"/>
                      <a:pt x="6" y="0"/>
                    </a:cubicBezTo>
                    <a:cubicBezTo>
                      <a:pt x="3" y="0"/>
                      <a:pt x="0" y="2"/>
                      <a:pt x="0" y="6"/>
                    </a:cubicBezTo>
                    <a:cubicBezTo>
                      <a:pt x="0" y="34"/>
                      <a:pt x="0" y="34"/>
                      <a:pt x="0" y="34"/>
                    </a:cubicBezTo>
                    <a:cubicBezTo>
                      <a:pt x="0" y="37"/>
                      <a:pt x="3" y="40"/>
                      <a:pt x="6" y="40"/>
                    </a:cubicBezTo>
                    <a:cubicBezTo>
                      <a:pt x="46" y="40"/>
                      <a:pt x="46" y="40"/>
                      <a:pt x="46" y="40"/>
                    </a:cubicBezTo>
                    <a:cubicBezTo>
                      <a:pt x="49" y="40"/>
                      <a:pt x="52" y="37"/>
                      <a:pt x="52" y="34"/>
                    </a:cubicBezTo>
                    <a:lnTo>
                      <a:pt x="52" y="6"/>
                    </a:lnTo>
                    <a:close/>
                  </a:path>
                </a:pathLst>
              </a:custGeom>
              <a:grpFill/>
              <a:ln>
                <a:noFill/>
              </a:ln>
            </p:spPr>
            <p:txBody>
              <a:bodyPr/>
              <a:lstStyle/>
              <a:p>
                <a:pPr>
                  <a:defRPr/>
                </a:pPr>
                <a:endParaRPr lang="en-US" kern="0" dirty="0">
                  <a:solidFill>
                    <a:sysClr val="windowText" lastClr="000000"/>
                  </a:solidFill>
                  <a:latin typeface="Arial"/>
                </a:endParaRPr>
              </a:p>
            </p:txBody>
          </p:sp>
          <p:sp>
            <p:nvSpPr>
              <p:cNvPr id="46" name="Freeform 52"/>
              <p:cNvSpPr>
                <a:spLocks/>
              </p:cNvSpPr>
              <p:nvPr/>
            </p:nvSpPr>
            <p:spPr bwMode="ltGray">
              <a:xfrm>
                <a:off x="7325127" y="6213689"/>
                <a:ext cx="202734" cy="157236"/>
              </a:xfrm>
              <a:custGeom>
                <a:avLst/>
                <a:gdLst>
                  <a:gd name="T0" fmla="*/ 52 w 52"/>
                  <a:gd name="T1" fmla="*/ 6 h 40"/>
                  <a:gd name="T2" fmla="*/ 46 w 52"/>
                  <a:gd name="T3" fmla="*/ 0 h 40"/>
                  <a:gd name="T4" fmla="*/ 6 w 52"/>
                  <a:gd name="T5" fmla="*/ 0 h 40"/>
                  <a:gd name="T6" fmla="*/ 0 w 52"/>
                  <a:gd name="T7" fmla="*/ 6 h 40"/>
                  <a:gd name="T8" fmla="*/ 0 w 52"/>
                  <a:gd name="T9" fmla="*/ 34 h 40"/>
                  <a:gd name="T10" fmla="*/ 6 w 52"/>
                  <a:gd name="T11" fmla="*/ 40 h 40"/>
                  <a:gd name="T12" fmla="*/ 46 w 52"/>
                  <a:gd name="T13" fmla="*/ 40 h 40"/>
                  <a:gd name="T14" fmla="*/ 52 w 52"/>
                  <a:gd name="T15" fmla="*/ 34 h 40"/>
                  <a:gd name="T16" fmla="*/ 52 w 52"/>
                  <a:gd name="T17"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0">
                    <a:moveTo>
                      <a:pt x="52" y="6"/>
                    </a:moveTo>
                    <a:cubicBezTo>
                      <a:pt x="52" y="2"/>
                      <a:pt x="50" y="0"/>
                      <a:pt x="46" y="0"/>
                    </a:cubicBezTo>
                    <a:cubicBezTo>
                      <a:pt x="6" y="0"/>
                      <a:pt x="6" y="0"/>
                      <a:pt x="6" y="0"/>
                    </a:cubicBezTo>
                    <a:cubicBezTo>
                      <a:pt x="3" y="0"/>
                      <a:pt x="0" y="2"/>
                      <a:pt x="0" y="6"/>
                    </a:cubicBezTo>
                    <a:cubicBezTo>
                      <a:pt x="0" y="34"/>
                      <a:pt x="0" y="34"/>
                      <a:pt x="0" y="34"/>
                    </a:cubicBezTo>
                    <a:cubicBezTo>
                      <a:pt x="0" y="37"/>
                      <a:pt x="3" y="40"/>
                      <a:pt x="6" y="40"/>
                    </a:cubicBezTo>
                    <a:cubicBezTo>
                      <a:pt x="46" y="40"/>
                      <a:pt x="46" y="40"/>
                      <a:pt x="46" y="40"/>
                    </a:cubicBezTo>
                    <a:cubicBezTo>
                      <a:pt x="50" y="40"/>
                      <a:pt x="52" y="37"/>
                      <a:pt x="52" y="34"/>
                    </a:cubicBezTo>
                    <a:lnTo>
                      <a:pt x="52" y="6"/>
                    </a:lnTo>
                    <a:close/>
                  </a:path>
                </a:pathLst>
              </a:custGeom>
              <a:grpFill/>
              <a:ln>
                <a:noFill/>
              </a:ln>
            </p:spPr>
            <p:txBody>
              <a:bodyPr/>
              <a:lstStyle/>
              <a:p>
                <a:pPr>
                  <a:defRPr/>
                </a:pPr>
                <a:endParaRPr lang="en-US" kern="0" dirty="0">
                  <a:solidFill>
                    <a:sysClr val="windowText" lastClr="000000"/>
                  </a:solidFill>
                  <a:latin typeface="Arial"/>
                </a:endParaRPr>
              </a:p>
            </p:txBody>
          </p:sp>
          <p:sp>
            <p:nvSpPr>
              <p:cNvPr id="47" name="Freeform 53"/>
              <p:cNvSpPr>
                <a:spLocks/>
              </p:cNvSpPr>
              <p:nvPr/>
            </p:nvSpPr>
            <p:spPr bwMode="ltGray">
              <a:xfrm>
                <a:off x="7325127" y="6013631"/>
                <a:ext cx="202734" cy="157236"/>
              </a:xfrm>
              <a:custGeom>
                <a:avLst/>
                <a:gdLst>
                  <a:gd name="T0" fmla="*/ 52 w 52"/>
                  <a:gd name="T1" fmla="*/ 6 h 40"/>
                  <a:gd name="T2" fmla="*/ 46 w 52"/>
                  <a:gd name="T3" fmla="*/ 0 h 40"/>
                  <a:gd name="T4" fmla="*/ 6 w 52"/>
                  <a:gd name="T5" fmla="*/ 0 h 40"/>
                  <a:gd name="T6" fmla="*/ 0 w 52"/>
                  <a:gd name="T7" fmla="*/ 6 h 40"/>
                  <a:gd name="T8" fmla="*/ 0 w 52"/>
                  <a:gd name="T9" fmla="*/ 34 h 40"/>
                  <a:gd name="T10" fmla="*/ 6 w 52"/>
                  <a:gd name="T11" fmla="*/ 40 h 40"/>
                  <a:gd name="T12" fmla="*/ 46 w 52"/>
                  <a:gd name="T13" fmla="*/ 40 h 40"/>
                  <a:gd name="T14" fmla="*/ 52 w 52"/>
                  <a:gd name="T15" fmla="*/ 34 h 40"/>
                  <a:gd name="T16" fmla="*/ 52 w 52"/>
                  <a:gd name="T17"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0">
                    <a:moveTo>
                      <a:pt x="52" y="6"/>
                    </a:moveTo>
                    <a:cubicBezTo>
                      <a:pt x="52" y="2"/>
                      <a:pt x="50" y="0"/>
                      <a:pt x="46" y="0"/>
                    </a:cubicBezTo>
                    <a:cubicBezTo>
                      <a:pt x="6" y="0"/>
                      <a:pt x="6" y="0"/>
                      <a:pt x="6" y="0"/>
                    </a:cubicBezTo>
                    <a:cubicBezTo>
                      <a:pt x="3" y="0"/>
                      <a:pt x="0" y="2"/>
                      <a:pt x="0" y="6"/>
                    </a:cubicBezTo>
                    <a:cubicBezTo>
                      <a:pt x="0" y="34"/>
                      <a:pt x="0" y="34"/>
                      <a:pt x="0" y="34"/>
                    </a:cubicBezTo>
                    <a:cubicBezTo>
                      <a:pt x="0" y="37"/>
                      <a:pt x="3" y="40"/>
                      <a:pt x="6" y="40"/>
                    </a:cubicBezTo>
                    <a:cubicBezTo>
                      <a:pt x="46" y="40"/>
                      <a:pt x="46" y="40"/>
                      <a:pt x="46" y="40"/>
                    </a:cubicBezTo>
                    <a:cubicBezTo>
                      <a:pt x="50" y="40"/>
                      <a:pt x="52" y="37"/>
                      <a:pt x="52" y="34"/>
                    </a:cubicBezTo>
                    <a:lnTo>
                      <a:pt x="52" y="6"/>
                    </a:lnTo>
                    <a:close/>
                  </a:path>
                </a:pathLst>
              </a:custGeom>
              <a:grpFill/>
              <a:ln>
                <a:noFill/>
              </a:ln>
            </p:spPr>
            <p:txBody>
              <a:bodyPr/>
              <a:lstStyle/>
              <a:p>
                <a:pPr>
                  <a:defRPr/>
                </a:pPr>
                <a:endParaRPr lang="en-US" kern="0" dirty="0">
                  <a:solidFill>
                    <a:sysClr val="windowText" lastClr="000000"/>
                  </a:solidFill>
                  <a:latin typeface="Arial"/>
                </a:endParaRPr>
              </a:p>
            </p:txBody>
          </p:sp>
          <p:sp>
            <p:nvSpPr>
              <p:cNvPr id="48" name="Freeform 54"/>
              <p:cNvSpPr>
                <a:spLocks/>
              </p:cNvSpPr>
              <p:nvPr/>
            </p:nvSpPr>
            <p:spPr bwMode="ltGray">
              <a:xfrm>
                <a:off x="7071542" y="5808890"/>
                <a:ext cx="202734" cy="157236"/>
              </a:xfrm>
              <a:custGeom>
                <a:avLst/>
                <a:gdLst>
                  <a:gd name="T0" fmla="*/ 52 w 52"/>
                  <a:gd name="T1" fmla="*/ 6 h 40"/>
                  <a:gd name="T2" fmla="*/ 46 w 52"/>
                  <a:gd name="T3" fmla="*/ 0 h 40"/>
                  <a:gd name="T4" fmla="*/ 6 w 52"/>
                  <a:gd name="T5" fmla="*/ 0 h 40"/>
                  <a:gd name="T6" fmla="*/ 0 w 52"/>
                  <a:gd name="T7" fmla="*/ 6 h 40"/>
                  <a:gd name="T8" fmla="*/ 0 w 52"/>
                  <a:gd name="T9" fmla="*/ 34 h 40"/>
                  <a:gd name="T10" fmla="*/ 6 w 52"/>
                  <a:gd name="T11" fmla="*/ 40 h 40"/>
                  <a:gd name="T12" fmla="*/ 46 w 52"/>
                  <a:gd name="T13" fmla="*/ 40 h 40"/>
                  <a:gd name="T14" fmla="*/ 52 w 52"/>
                  <a:gd name="T15" fmla="*/ 34 h 40"/>
                  <a:gd name="T16" fmla="*/ 52 w 52"/>
                  <a:gd name="T17"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0">
                    <a:moveTo>
                      <a:pt x="52" y="6"/>
                    </a:moveTo>
                    <a:cubicBezTo>
                      <a:pt x="52" y="2"/>
                      <a:pt x="49" y="0"/>
                      <a:pt x="46" y="0"/>
                    </a:cubicBezTo>
                    <a:cubicBezTo>
                      <a:pt x="6" y="0"/>
                      <a:pt x="6" y="0"/>
                      <a:pt x="6" y="0"/>
                    </a:cubicBezTo>
                    <a:cubicBezTo>
                      <a:pt x="3" y="0"/>
                      <a:pt x="0" y="2"/>
                      <a:pt x="0" y="6"/>
                    </a:cubicBezTo>
                    <a:cubicBezTo>
                      <a:pt x="0" y="34"/>
                      <a:pt x="0" y="34"/>
                      <a:pt x="0" y="34"/>
                    </a:cubicBezTo>
                    <a:cubicBezTo>
                      <a:pt x="0" y="37"/>
                      <a:pt x="3" y="40"/>
                      <a:pt x="6" y="40"/>
                    </a:cubicBezTo>
                    <a:cubicBezTo>
                      <a:pt x="46" y="40"/>
                      <a:pt x="46" y="40"/>
                      <a:pt x="46" y="40"/>
                    </a:cubicBezTo>
                    <a:cubicBezTo>
                      <a:pt x="49" y="40"/>
                      <a:pt x="52" y="37"/>
                      <a:pt x="52" y="34"/>
                    </a:cubicBezTo>
                    <a:lnTo>
                      <a:pt x="52" y="6"/>
                    </a:lnTo>
                    <a:close/>
                  </a:path>
                </a:pathLst>
              </a:custGeom>
              <a:grpFill/>
              <a:ln>
                <a:noFill/>
              </a:ln>
            </p:spPr>
            <p:txBody>
              <a:bodyPr/>
              <a:lstStyle/>
              <a:p>
                <a:pPr>
                  <a:defRPr/>
                </a:pPr>
                <a:endParaRPr lang="en-US" kern="0" dirty="0">
                  <a:solidFill>
                    <a:sysClr val="windowText" lastClr="000000"/>
                  </a:solidFill>
                  <a:latin typeface="Arial"/>
                </a:endParaRPr>
              </a:p>
            </p:txBody>
          </p:sp>
          <p:sp>
            <p:nvSpPr>
              <p:cNvPr id="49" name="Freeform 55"/>
              <p:cNvSpPr>
                <a:spLocks/>
              </p:cNvSpPr>
              <p:nvPr/>
            </p:nvSpPr>
            <p:spPr bwMode="ltGray">
              <a:xfrm>
                <a:off x="7325127" y="5808890"/>
                <a:ext cx="202734" cy="157236"/>
              </a:xfrm>
              <a:custGeom>
                <a:avLst/>
                <a:gdLst>
                  <a:gd name="T0" fmla="*/ 52 w 52"/>
                  <a:gd name="T1" fmla="*/ 6 h 40"/>
                  <a:gd name="T2" fmla="*/ 46 w 52"/>
                  <a:gd name="T3" fmla="*/ 0 h 40"/>
                  <a:gd name="T4" fmla="*/ 6 w 52"/>
                  <a:gd name="T5" fmla="*/ 0 h 40"/>
                  <a:gd name="T6" fmla="*/ 0 w 52"/>
                  <a:gd name="T7" fmla="*/ 6 h 40"/>
                  <a:gd name="T8" fmla="*/ 0 w 52"/>
                  <a:gd name="T9" fmla="*/ 34 h 40"/>
                  <a:gd name="T10" fmla="*/ 6 w 52"/>
                  <a:gd name="T11" fmla="*/ 40 h 40"/>
                  <a:gd name="T12" fmla="*/ 46 w 52"/>
                  <a:gd name="T13" fmla="*/ 40 h 40"/>
                  <a:gd name="T14" fmla="*/ 52 w 52"/>
                  <a:gd name="T15" fmla="*/ 34 h 40"/>
                  <a:gd name="T16" fmla="*/ 52 w 52"/>
                  <a:gd name="T17"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0">
                    <a:moveTo>
                      <a:pt x="52" y="6"/>
                    </a:moveTo>
                    <a:cubicBezTo>
                      <a:pt x="52" y="2"/>
                      <a:pt x="50" y="0"/>
                      <a:pt x="46" y="0"/>
                    </a:cubicBezTo>
                    <a:cubicBezTo>
                      <a:pt x="6" y="0"/>
                      <a:pt x="6" y="0"/>
                      <a:pt x="6" y="0"/>
                    </a:cubicBezTo>
                    <a:cubicBezTo>
                      <a:pt x="3" y="0"/>
                      <a:pt x="0" y="2"/>
                      <a:pt x="0" y="6"/>
                    </a:cubicBezTo>
                    <a:cubicBezTo>
                      <a:pt x="0" y="34"/>
                      <a:pt x="0" y="34"/>
                      <a:pt x="0" y="34"/>
                    </a:cubicBezTo>
                    <a:cubicBezTo>
                      <a:pt x="0" y="37"/>
                      <a:pt x="3" y="40"/>
                      <a:pt x="6" y="40"/>
                    </a:cubicBezTo>
                    <a:cubicBezTo>
                      <a:pt x="46" y="40"/>
                      <a:pt x="46" y="40"/>
                      <a:pt x="46" y="40"/>
                    </a:cubicBezTo>
                    <a:cubicBezTo>
                      <a:pt x="50" y="40"/>
                      <a:pt x="52" y="37"/>
                      <a:pt x="52" y="34"/>
                    </a:cubicBezTo>
                    <a:lnTo>
                      <a:pt x="52" y="6"/>
                    </a:lnTo>
                    <a:close/>
                  </a:path>
                </a:pathLst>
              </a:custGeom>
              <a:grpFill/>
              <a:ln>
                <a:noFill/>
              </a:ln>
            </p:spPr>
            <p:txBody>
              <a:bodyPr/>
              <a:lstStyle/>
              <a:p>
                <a:pPr>
                  <a:defRPr/>
                </a:pPr>
                <a:endParaRPr lang="en-US" kern="0" dirty="0">
                  <a:solidFill>
                    <a:sysClr val="windowText" lastClr="000000"/>
                  </a:solidFill>
                  <a:latin typeface="Arial"/>
                </a:endParaRPr>
              </a:p>
            </p:txBody>
          </p:sp>
          <p:sp>
            <p:nvSpPr>
              <p:cNvPr id="50" name="Freeform 56"/>
              <p:cNvSpPr>
                <a:spLocks/>
              </p:cNvSpPr>
              <p:nvPr/>
            </p:nvSpPr>
            <p:spPr bwMode="ltGray">
              <a:xfrm>
                <a:off x="6573070" y="5804875"/>
                <a:ext cx="448290" cy="566049"/>
              </a:xfrm>
              <a:custGeom>
                <a:avLst/>
                <a:gdLst/>
                <a:ahLst/>
                <a:cxnLst/>
                <a:rect l="l" t="t" r="r" b="b"/>
                <a:pathLst>
                  <a:path w="1063625" h="1343025">
                    <a:moveTo>
                      <a:pt x="101600" y="103188"/>
                    </a:moveTo>
                    <a:cubicBezTo>
                      <a:pt x="101600" y="103188"/>
                      <a:pt x="101600" y="103188"/>
                      <a:pt x="101600" y="1241426"/>
                    </a:cubicBezTo>
                    <a:cubicBezTo>
                      <a:pt x="101600" y="1241426"/>
                      <a:pt x="101600" y="1241426"/>
                      <a:pt x="823148" y="1241426"/>
                    </a:cubicBezTo>
                    <a:cubicBezTo>
                      <a:pt x="850900" y="1120139"/>
                      <a:pt x="841649" y="989521"/>
                      <a:pt x="786146" y="868233"/>
                    </a:cubicBezTo>
                    <a:cubicBezTo>
                      <a:pt x="758394" y="802925"/>
                      <a:pt x="721391" y="746946"/>
                      <a:pt x="675138" y="681637"/>
                    </a:cubicBezTo>
                    <a:cubicBezTo>
                      <a:pt x="628885" y="616328"/>
                      <a:pt x="582632" y="541690"/>
                      <a:pt x="545630" y="457721"/>
                    </a:cubicBezTo>
                    <a:cubicBezTo>
                      <a:pt x="499377" y="345763"/>
                      <a:pt x="490126" y="224476"/>
                      <a:pt x="527128" y="103188"/>
                    </a:cubicBezTo>
                    <a:cubicBezTo>
                      <a:pt x="527128" y="103188"/>
                      <a:pt x="527128" y="103188"/>
                      <a:pt x="101600" y="103188"/>
                    </a:cubicBezTo>
                    <a:close/>
                    <a:moveTo>
                      <a:pt x="83240" y="0"/>
                    </a:moveTo>
                    <a:cubicBezTo>
                      <a:pt x="83240" y="0"/>
                      <a:pt x="83240" y="0"/>
                      <a:pt x="675171" y="0"/>
                    </a:cubicBezTo>
                    <a:cubicBezTo>
                      <a:pt x="675171" y="9066"/>
                      <a:pt x="675171" y="9319"/>
                      <a:pt x="675171" y="9327"/>
                    </a:cubicBezTo>
                    <a:cubicBezTo>
                      <a:pt x="675171" y="9327"/>
                      <a:pt x="675171" y="9327"/>
                      <a:pt x="1008131" y="9327"/>
                    </a:cubicBezTo>
                    <a:cubicBezTo>
                      <a:pt x="1035878" y="9327"/>
                      <a:pt x="1063625" y="27980"/>
                      <a:pt x="1063625" y="65286"/>
                    </a:cubicBezTo>
                    <a:cubicBezTo>
                      <a:pt x="1063625" y="65286"/>
                      <a:pt x="1063625" y="65286"/>
                      <a:pt x="1063625" y="326430"/>
                    </a:cubicBezTo>
                    <a:cubicBezTo>
                      <a:pt x="1063625" y="354410"/>
                      <a:pt x="1035878" y="382389"/>
                      <a:pt x="1008131" y="382389"/>
                    </a:cubicBezTo>
                    <a:lnTo>
                      <a:pt x="638175" y="382389"/>
                    </a:lnTo>
                    <a:cubicBezTo>
                      <a:pt x="638175" y="391716"/>
                      <a:pt x="647424" y="410369"/>
                      <a:pt x="647424" y="419695"/>
                    </a:cubicBezTo>
                    <a:cubicBezTo>
                      <a:pt x="656673" y="447675"/>
                      <a:pt x="665922" y="466328"/>
                      <a:pt x="684420" y="494308"/>
                    </a:cubicBezTo>
                    <a:cubicBezTo>
                      <a:pt x="684420" y="494308"/>
                      <a:pt x="684420" y="494308"/>
                      <a:pt x="1008131" y="494308"/>
                    </a:cubicBezTo>
                    <a:cubicBezTo>
                      <a:pt x="1035878" y="494308"/>
                      <a:pt x="1063625" y="512961"/>
                      <a:pt x="1063625" y="550267"/>
                    </a:cubicBezTo>
                    <a:cubicBezTo>
                      <a:pt x="1063625" y="550267"/>
                      <a:pt x="1063625" y="550267"/>
                      <a:pt x="1063625" y="811411"/>
                    </a:cubicBezTo>
                    <a:cubicBezTo>
                      <a:pt x="1063625" y="839391"/>
                      <a:pt x="1035878" y="867370"/>
                      <a:pt x="1008131" y="867370"/>
                    </a:cubicBezTo>
                    <a:cubicBezTo>
                      <a:pt x="1008131" y="867370"/>
                      <a:pt x="1008131" y="867370"/>
                      <a:pt x="897145" y="867370"/>
                    </a:cubicBezTo>
                    <a:cubicBezTo>
                      <a:pt x="915642" y="895350"/>
                      <a:pt x="924891" y="932656"/>
                      <a:pt x="934140" y="969963"/>
                    </a:cubicBezTo>
                    <a:cubicBezTo>
                      <a:pt x="934140" y="969963"/>
                      <a:pt x="934140" y="969963"/>
                      <a:pt x="1008131" y="969963"/>
                    </a:cubicBezTo>
                    <a:cubicBezTo>
                      <a:pt x="1035878" y="969963"/>
                      <a:pt x="1063625" y="988616"/>
                      <a:pt x="1063625" y="1025922"/>
                    </a:cubicBezTo>
                    <a:cubicBezTo>
                      <a:pt x="1063625" y="1025922"/>
                      <a:pt x="1063625" y="1025922"/>
                      <a:pt x="1063625" y="1287066"/>
                    </a:cubicBezTo>
                    <a:cubicBezTo>
                      <a:pt x="1063625" y="1315045"/>
                      <a:pt x="1035878" y="1343025"/>
                      <a:pt x="1008131" y="1343025"/>
                    </a:cubicBezTo>
                    <a:cubicBezTo>
                      <a:pt x="1008131" y="1343025"/>
                      <a:pt x="1008131" y="1343025"/>
                      <a:pt x="906393" y="1343025"/>
                    </a:cubicBezTo>
                    <a:cubicBezTo>
                      <a:pt x="906393" y="1343025"/>
                      <a:pt x="906393" y="1343025"/>
                      <a:pt x="83240" y="1343025"/>
                    </a:cubicBezTo>
                    <a:cubicBezTo>
                      <a:pt x="36996" y="1343025"/>
                      <a:pt x="0" y="1305719"/>
                      <a:pt x="0" y="1268413"/>
                    </a:cubicBezTo>
                    <a:cubicBezTo>
                      <a:pt x="0" y="1268413"/>
                      <a:pt x="0" y="1268413"/>
                      <a:pt x="0" y="83939"/>
                    </a:cubicBezTo>
                    <a:cubicBezTo>
                      <a:pt x="0" y="37306"/>
                      <a:pt x="36996" y="0"/>
                      <a:pt x="83240" y="0"/>
                    </a:cubicBezTo>
                    <a:close/>
                  </a:path>
                </a:pathLst>
              </a:custGeom>
              <a:grpFill/>
              <a:ln>
                <a:noFill/>
              </a:ln>
            </p:spPr>
            <p:txBody>
              <a:bodyPr/>
              <a:lstStyle/>
              <a:p>
                <a:pPr>
                  <a:defRPr/>
                </a:pPr>
                <a:endParaRPr lang="en-US" kern="0" dirty="0">
                  <a:solidFill>
                    <a:sysClr val="windowText" lastClr="000000"/>
                  </a:solidFill>
                  <a:latin typeface="Arial"/>
                </a:endParaRPr>
              </a:p>
            </p:txBody>
          </p:sp>
        </p:grpSp>
        <p:grpSp>
          <p:nvGrpSpPr>
            <p:cNvPr id="27" name="Group 26"/>
            <p:cNvGrpSpPr/>
            <p:nvPr/>
          </p:nvGrpSpPr>
          <p:grpSpPr bwMode="ltGray">
            <a:xfrm rot="174138">
              <a:off x="3387621" y="5429013"/>
              <a:ext cx="483765" cy="228604"/>
              <a:chOff x="6270931" y="4005523"/>
              <a:chExt cx="1068985" cy="505151"/>
            </a:xfrm>
            <a:solidFill>
              <a:srgbClr val="4F2170"/>
            </a:solidFill>
          </p:grpSpPr>
          <p:sp>
            <p:nvSpPr>
              <p:cNvPr id="38" name="Freeform 37"/>
              <p:cNvSpPr>
                <a:spLocks/>
              </p:cNvSpPr>
              <p:nvPr/>
            </p:nvSpPr>
            <p:spPr bwMode="ltGray">
              <a:xfrm>
                <a:off x="6270931" y="4096719"/>
                <a:ext cx="164947" cy="179222"/>
              </a:xfrm>
              <a:custGeom>
                <a:avLst/>
                <a:gdLst>
                  <a:gd name="T0" fmla="*/ 42 w 42"/>
                  <a:gd name="T1" fmla="*/ 44 h 45"/>
                  <a:gd name="T2" fmla="*/ 34 w 42"/>
                  <a:gd name="T3" fmla="*/ 41 h 45"/>
                  <a:gd name="T4" fmla="*/ 29 w 42"/>
                  <a:gd name="T5" fmla="*/ 30 h 45"/>
                  <a:gd name="T6" fmla="*/ 31 w 42"/>
                  <a:gd name="T7" fmla="*/ 20 h 45"/>
                  <a:gd name="T8" fmla="*/ 25 w 42"/>
                  <a:gd name="T9" fmla="*/ 6 h 45"/>
                  <a:gd name="T10" fmla="*/ 2 w 42"/>
                  <a:gd name="T11" fmla="*/ 17 h 45"/>
                  <a:gd name="T12" fmla="*/ 29 w 42"/>
                  <a:gd name="T13" fmla="*/ 45 h 45"/>
                  <a:gd name="T14" fmla="*/ 42 w 42"/>
                  <a:gd name="T15" fmla="*/ 44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5">
                    <a:moveTo>
                      <a:pt x="42" y="44"/>
                    </a:moveTo>
                    <a:cubicBezTo>
                      <a:pt x="39" y="44"/>
                      <a:pt x="36" y="42"/>
                      <a:pt x="34" y="41"/>
                    </a:cubicBezTo>
                    <a:cubicBezTo>
                      <a:pt x="31" y="38"/>
                      <a:pt x="29" y="35"/>
                      <a:pt x="29" y="30"/>
                    </a:cubicBezTo>
                    <a:cubicBezTo>
                      <a:pt x="30" y="27"/>
                      <a:pt x="31" y="24"/>
                      <a:pt x="31" y="20"/>
                    </a:cubicBezTo>
                    <a:cubicBezTo>
                      <a:pt x="32" y="15"/>
                      <a:pt x="30" y="9"/>
                      <a:pt x="25" y="6"/>
                    </a:cubicBezTo>
                    <a:cubicBezTo>
                      <a:pt x="16" y="0"/>
                      <a:pt x="4" y="6"/>
                      <a:pt x="2" y="17"/>
                    </a:cubicBezTo>
                    <a:cubicBezTo>
                      <a:pt x="0" y="32"/>
                      <a:pt x="16" y="44"/>
                      <a:pt x="29" y="45"/>
                    </a:cubicBezTo>
                    <a:cubicBezTo>
                      <a:pt x="33" y="45"/>
                      <a:pt x="37" y="45"/>
                      <a:pt x="42" y="44"/>
                    </a:cubicBezTo>
                  </a:path>
                </a:pathLst>
              </a:custGeom>
              <a:grpFill/>
              <a:ln>
                <a:noFill/>
              </a:ln>
            </p:spPr>
            <p:txBody>
              <a:bodyPr/>
              <a:lstStyle/>
              <a:p>
                <a:pPr>
                  <a:defRPr/>
                </a:pPr>
                <a:endParaRPr lang="en-US" kern="0" dirty="0">
                  <a:solidFill>
                    <a:sysClr val="windowText" lastClr="000000"/>
                  </a:solidFill>
                  <a:latin typeface="Arial"/>
                </a:endParaRPr>
              </a:p>
            </p:txBody>
          </p:sp>
          <p:sp>
            <p:nvSpPr>
              <p:cNvPr id="39" name="Freeform 38"/>
              <p:cNvSpPr>
                <a:spLocks/>
              </p:cNvSpPr>
              <p:nvPr/>
            </p:nvSpPr>
            <p:spPr bwMode="ltGray">
              <a:xfrm>
                <a:off x="6270931" y="4264046"/>
                <a:ext cx="164947" cy="179222"/>
              </a:xfrm>
              <a:custGeom>
                <a:avLst/>
                <a:gdLst>
                  <a:gd name="T0" fmla="*/ 42 w 42"/>
                  <a:gd name="T1" fmla="*/ 1 h 45"/>
                  <a:gd name="T2" fmla="*/ 34 w 42"/>
                  <a:gd name="T3" fmla="*/ 4 h 45"/>
                  <a:gd name="T4" fmla="*/ 29 w 42"/>
                  <a:gd name="T5" fmla="*/ 15 h 45"/>
                  <a:gd name="T6" fmla="*/ 31 w 42"/>
                  <a:gd name="T7" fmla="*/ 25 h 45"/>
                  <a:gd name="T8" fmla="*/ 25 w 42"/>
                  <a:gd name="T9" fmla="*/ 39 h 45"/>
                  <a:gd name="T10" fmla="*/ 2 w 42"/>
                  <a:gd name="T11" fmla="*/ 28 h 45"/>
                  <a:gd name="T12" fmla="*/ 29 w 42"/>
                  <a:gd name="T13" fmla="*/ 0 h 45"/>
                  <a:gd name="T14" fmla="*/ 42 w 42"/>
                  <a:gd name="T15" fmla="*/ 1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5">
                    <a:moveTo>
                      <a:pt x="42" y="1"/>
                    </a:moveTo>
                    <a:cubicBezTo>
                      <a:pt x="39" y="1"/>
                      <a:pt x="36" y="3"/>
                      <a:pt x="34" y="4"/>
                    </a:cubicBezTo>
                    <a:cubicBezTo>
                      <a:pt x="31" y="7"/>
                      <a:pt x="29" y="11"/>
                      <a:pt x="29" y="15"/>
                    </a:cubicBezTo>
                    <a:cubicBezTo>
                      <a:pt x="29" y="18"/>
                      <a:pt x="31" y="21"/>
                      <a:pt x="31" y="25"/>
                    </a:cubicBezTo>
                    <a:cubicBezTo>
                      <a:pt x="32" y="30"/>
                      <a:pt x="30" y="36"/>
                      <a:pt x="25" y="39"/>
                    </a:cubicBezTo>
                    <a:cubicBezTo>
                      <a:pt x="16" y="45"/>
                      <a:pt x="3" y="39"/>
                      <a:pt x="2" y="28"/>
                    </a:cubicBezTo>
                    <a:cubicBezTo>
                      <a:pt x="0" y="13"/>
                      <a:pt x="16" y="1"/>
                      <a:pt x="29" y="0"/>
                    </a:cubicBezTo>
                    <a:cubicBezTo>
                      <a:pt x="33" y="0"/>
                      <a:pt x="37" y="0"/>
                      <a:pt x="42" y="1"/>
                    </a:cubicBezTo>
                  </a:path>
                </a:pathLst>
              </a:custGeom>
              <a:grpFill/>
              <a:ln>
                <a:noFill/>
              </a:ln>
            </p:spPr>
            <p:txBody>
              <a:bodyPr/>
              <a:lstStyle/>
              <a:p>
                <a:pPr>
                  <a:defRPr/>
                </a:pPr>
                <a:endParaRPr lang="en-US" kern="0" dirty="0">
                  <a:solidFill>
                    <a:sysClr val="windowText" lastClr="000000"/>
                  </a:solidFill>
                  <a:latin typeface="Arial"/>
                </a:endParaRPr>
              </a:p>
            </p:txBody>
          </p:sp>
          <p:sp>
            <p:nvSpPr>
              <p:cNvPr id="40" name="Freeform 39"/>
              <p:cNvSpPr>
                <a:spLocks/>
              </p:cNvSpPr>
              <p:nvPr/>
            </p:nvSpPr>
            <p:spPr bwMode="ltGray">
              <a:xfrm>
                <a:off x="7174969" y="4092754"/>
                <a:ext cx="164947" cy="179222"/>
              </a:xfrm>
              <a:custGeom>
                <a:avLst/>
                <a:gdLst>
                  <a:gd name="T0" fmla="*/ 0 w 42"/>
                  <a:gd name="T1" fmla="*/ 44 h 45"/>
                  <a:gd name="T2" fmla="*/ 7 w 42"/>
                  <a:gd name="T3" fmla="*/ 41 h 45"/>
                  <a:gd name="T4" fmla="*/ 12 w 42"/>
                  <a:gd name="T5" fmla="*/ 30 h 45"/>
                  <a:gd name="T6" fmla="*/ 10 w 42"/>
                  <a:gd name="T7" fmla="*/ 20 h 45"/>
                  <a:gd name="T8" fmla="*/ 16 w 42"/>
                  <a:gd name="T9" fmla="*/ 6 h 45"/>
                  <a:gd name="T10" fmla="*/ 39 w 42"/>
                  <a:gd name="T11" fmla="*/ 17 h 45"/>
                  <a:gd name="T12" fmla="*/ 12 w 42"/>
                  <a:gd name="T13" fmla="*/ 44 h 45"/>
                  <a:gd name="T14" fmla="*/ 0 w 42"/>
                  <a:gd name="T15" fmla="*/ 44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5">
                    <a:moveTo>
                      <a:pt x="0" y="44"/>
                    </a:moveTo>
                    <a:cubicBezTo>
                      <a:pt x="2" y="44"/>
                      <a:pt x="5" y="42"/>
                      <a:pt x="7" y="41"/>
                    </a:cubicBezTo>
                    <a:cubicBezTo>
                      <a:pt x="10" y="38"/>
                      <a:pt x="12" y="35"/>
                      <a:pt x="12" y="30"/>
                    </a:cubicBezTo>
                    <a:cubicBezTo>
                      <a:pt x="12" y="27"/>
                      <a:pt x="10" y="24"/>
                      <a:pt x="10" y="20"/>
                    </a:cubicBezTo>
                    <a:cubicBezTo>
                      <a:pt x="10" y="15"/>
                      <a:pt x="12" y="9"/>
                      <a:pt x="16" y="6"/>
                    </a:cubicBezTo>
                    <a:cubicBezTo>
                      <a:pt x="26" y="0"/>
                      <a:pt x="38" y="6"/>
                      <a:pt x="39" y="17"/>
                    </a:cubicBezTo>
                    <a:cubicBezTo>
                      <a:pt x="42" y="32"/>
                      <a:pt x="26" y="44"/>
                      <a:pt x="12" y="44"/>
                    </a:cubicBezTo>
                    <a:cubicBezTo>
                      <a:pt x="8" y="45"/>
                      <a:pt x="4" y="44"/>
                      <a:pt x="0" y="44"/>
                    </a:cubicBezTo>
                  </a:path>
                </a:pathLst>
              </a:custGeom>
              <a:grpFill/>
              <a:ln>
                <a:noFill/>
              </a:ln>
            </p:spPr>
            <p:txBody>
              <a:bodyPr/>
              <a:lstStyle/>
              <a:p>
                <a:pPr>
                  <a:defRPr/>
                </a:pPr>
                <a:endParaRPr lang="en-US" kern="0" dirty="0">
                  <a:solidFill>
                    <a:sysClr val="windowText" lastClr="000000"/>
                  </a:solidFill>
                  <a:latin typeface="Arial"/>
                </a:endParaRPr>
              </a:p>
            </p:txBody>
          </p:sp>
          <p:sp>
            <p:nvSpPr>
              <p:cNvPr id="41" name="Freeform 40"/>
              <p:cNvSpPr>
                <a:spLocks/>
              </p:cNvSpPr>
              <p:nvPr/>
            </p:nvSpPr>
            <p:spPr bwMode="ltGray">
              <a:xfrm>
                <a:off x="7174969" y="4260080"/>
                <a:ext cx="164947" cy="179222"/>
              </a:xfrm>
              <a:custGeom>
                <a:avLst/>
                <a:gdLst>
                  <a:gd name="T0" fmla="*/ 0 w 42"/>
                  <a:gd name="T1" fmla="*/ 1 h 45"/>
                  <a:gd name="T2" fmla="*/ 7 w 42"/>
                  <a:gd name="T3" fmla="*/ 4 h 45"/>
                  <a:gd name="T4" fmla="*/ 12 w 42"/>
                  <a:gd name="T5" fmla="*/ 15 h 45"/>
                  <a:gd name="T6" fmla="*/ 10 w 42"/>
                  <a:gd name="T7" fmla="*/ 25 h 45"/>
                  <a:gd name="T8" fmla="*/ 16 w 42"/>
                  <a:gd name="T9" fmla="*/ 39 h 45"/>
                  <a:gd name="T10" fmla="*/ 39 w 42"/>
                  <a:gd name="T11" fmla="*/ 28 h 45"/>
                  <a:gd name="T12" fmla="*/ 12 w 42"/>
                  <a:gd name="T13" fmla="*/ 0 h 45"/>
                  <a:gd name="T14" fmla="*/ 0 w 42"/>
                  <a:gd name="T15" fmla="*/ 1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5">
                    <a:moveTo>
                      <a:pt x="0" y="1"/>
                    </a:moveTo>
                    <a:cubicBezTo>
                      <a:pt x="2" y="1"/>
                      <a:pt x="5" y="3"/>
                      <a:pt x="7" y="4"/>
                    </a:cubicBezTo>
                    <a:cubicBezTo>
                      <a:pt x="10" y="7"/>
                      <a:pt x="12" y="10"/>
                      <a:pt x="12" y="15"/>
                    </a:cubicBezTo>
                    <a:cubicBezTo>
                      <a:pt x="12" y="18"/>
                      <a:pt x="10" y="21"/>
                      <a:pt x="10" y="25"/>
                    </a:cubicBezTo>
                    <a:cubicBezTo>
                      <a:pt x="9" y="30"/>
                      <a:pt x="11" y="36"/>
                      <a:pt x="16" y="39"/>
                    </a:cubicBezTo>
                    <a:cubicBezTo>
                      <a:pt x="25" y="45"/>
                      <a:pt x="38" y="39"/>
                      <a:pt x="39" y="28"/>
                    </a:cubicBezTo>
                    <a:cubicBezTo>
                      <a:pt x="42" y="13"/>
                      <a:pt x="26" y="1"/>
                      <a:pt x="12" y="0"/>
                    </a:cubicBezTo>
                    <a:cubicBezTo>
                      <a:pt x="8" y="0"/>
                      <a:pt x="4" y="0"/>
                      <a:pt x="0" y="1"/>
                    </a:cubicBezTo>
                  </a:path>
                </a:pathLst>
              </a:custGeom>
              <a:grpFill/>
              <a:ln>
                <a:noFill/>
              </a:ln>
            </p:spPr>
            <p:txBody>
              <a:bodyPr/>
              <a:lstStyle/>
              <a:p>
                <a:pPr>
                  <a:defRPr/>
                </a:pPr>
                <a:endParaRPr lang="en-US" kern="0" dirty="0">
                  <a:solidFill>
                    <a:sysClr val="windowText" lastClr="000000"/>
                  </a:solidFill>
                  <a:latin typeface="Arial"/>
                </a:endParaRPr>
              </a:p>
            </p:txBody>
          </p:sp>
          <p:sp>
            <p:nvSpPr>
              <p:cNvPr id="42" name="Freeform 41"/>
              <p:cNvSpPr>
                <a:spLocks/>
              </p:cNvSpPr>
              <p:nvPr/>
            </p:nvSpPr>
            <p:spPr bwMode="ltGray">
              <a:xfrm>
                <a:off x="6439843" y="4005523"/>
                <a:ext cx="616966" cy="246628"/>
              </a:xfrm>
              <a:custGeom>
                <a:avLst/>
                <a:gdLst>
                  <a:gd name="T0" fmla="*/ 45 w 157"/>
                  <a:gd name="T1" fmla="*/ 56 h 62"/>
                  <a:gd name="T2" fmla="*/ 67 w 157"/>
                  <a:gd name="T3" fmla="*/ 42 h 62"/>
                  <a:gd name="T4" fmla="*/ 89 w 157"/>
                  <a:gd name="T5" fmla="*/ 28 h 62"/>
                  <a:gd name="T6" fmla="*/ 129 w 157"/>
                  <a:gd name="T7" fmla="*/ 18 h 62"/>
                  <a:gd name="T8" fmla="*/ 157 w 157"/>
                  <a:gd name="T9" fmla="*/ 23 h 62"/>
                  <a:gd name="T10" fmla="*/ 93 w 157"/>
                  <a:gd name="T11" fmla="*/ 0 h 62"/>
                  <a:gd name="T12" fmla="*/ 0 w 157"/>
                  <a:gd name="T13" fmla="*/ 56 h 62"/>
                  <a:gd name="T14" fmla="*/ 45 w 157"/>
                  <a:gd name="T15" fmla="*/ 56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2">
                    <a:moveTo>
                      <a:pt x="45" y="56"/>
                    </a:moveTo>
                    <a:cubicBezTo>
                      <a:pt x="53" y="52"/>
                      <a:pt x="60" y="47"/>
                      <a:pt x="67" y="42"/>
                    </a:cubicBezTo>
                    <a:cubicBezTo>
                      <a:pt x="74" y="37"/>
                      <a:pt x="81" y="31"/>
                      <a:pt x="89" y="28"/>
                    </a:cubicBezTo>
                    <a:cubicBezTo>
                      <a:pt x="102" y="21"/>
                      <a:pt x="116" y="18"/>
                      <a:pt x="129" y="18"/>
                    </a:cubicBezTo>
                    <a:cubicBezTo>
                      <a:pt x="139" y="18"/>
                      <a:pt x="148" y="20"/>
                      <a:pt x="157" y="23"/>
                    </a:cubicBezTo>
                    <a:cubicBezTo>
                      <a:pt x="142" y="11"/>
                      <a:pt x="120" y="0"/>
                      <a:pt x="93" y="0"/>
                    </a:cubicBezTo>
                    <a:cubicBezTo>
                      <a:pt x="38" y="0"/>
                      <a:pt x="8" y="41"/>
                      <a:pt x="0" y="56"/>
                    </a:cubicBezTo>
                    <a:cubicBezTo>
                      <a:pt x="14" y="62"/>
                      <a:pt x="31" y="62"/>
                      <a:pt x="45" y="56"/>
                    </a:cubicBezTo>
                    <a:close/>
                  </a:path>
                </a:pathLst>
              </a:custGeom>
              <a:grpFill/>
              <a:ln>
                <a:noFill/>
              </a:ln>
            </p:spPr>
            <p:txBody>
              <a:bodyPr/>
              <a:lstStyle/>
              <a:p>
                <a:pPr>
                  <a:defRPr/>
                </a:pPr>
                <a:endParaRPr lang="en-US" kern="0" dirty="0">
                  <a:solidFill>
                    <a:sysClr val="windowText" lastClr="000000"/>
                  </a:solidFill>
                  <a:latin typeface="Arial"/>
                </a:endParaRPr>
              </a:p>
            </p:txBody>
          </p:sp>
          <p:sp>
            <p:nvSpPr>
              <p:cNvPr id="43" name="Freeform 42"/>
              <p:cNvSpPr>
                <a:spLocks/>
              </p:cNvSpPr>
              <p:nvPr/>
            </p:nvSpPr>
            <p:spPr bwMode="ltGray">
              <a:xfrm>
                <a:off x="6427948" y="4116545"/>
                <a:ext cx="754951" cy="394129"/>
              </a:xfrm>
              <a:custGeom>
                <a:avLst/>
                <a:gdLst>
                  <a:gd name="T0" fmla="*/ 171 w 192"/>
                  <a:gd name="T1" fmla="*/ 12 h 99"/>
                  <a:gd name="T2" fmla="*/ 132 w 192"/>
                  <a:gd name="T3" fmla="*/ 0 h 99"/>
                  <a:gd name="T4" fmla="*/ 95 w 192"/>
                  <a:gd name="T5" fmla="*/ 9 h 99"/>
                  <a:gd name="T6" fmla="*/ 74 w 192"/>
                  <a:gd name="T7" fmla="*/ 23 h 99"/>
                  <a:gd name="T8" fmla="*/ 50 w 192"/>
                  <a:gd name="T9" fmla="*/ 37 h 99"/>
                  <a:gd name="T10" fmla="*/ 0 w 192"/>
                  <a:gd name="T11" fmla="*/ 38 h 99"/>
                  <a:gd name="T12" fmla="*/ 96 w 192"/>
                  <a:gd name="T13" fmla="*/ 99 h 99"/>
                  <a:gd name="T14" fmla="*/ 192 w 192"/>
                  <a:gd name="T15" fmla="*/ 37 h 99"/>
                  <a:gd name="T16" fmla="*/ 180 w 192"/>
                  <a:gd name="T17" fmla="*/ 20 h 99"/>
                  <a:gd name="T18" fmla="*/ 171 w 192"/>
                  <a:gd name="T19" fmla="*/ 1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99">
                    <a:moveTo>
                      <a:pt x="171" y="12"/>
                    </a:moveTo>
                    <a:cubicBezTo>
                      <a:pt x="160" y="4"/>
                      <a:pt x="147" y="0"/>
                      <a:pt x="132" y="0"/>
                    </a:cubicBezTo>
                    <a:cubicBezTo>
                      <a:pt x="119" y="0"/>
                      <a:pt x="107" y="3"/>
                      <a:pt x="95" y="9"/>
                    </a:cubicBezTo>
                    <a:cubicBezTo>
                      <a:pt x="87" y="13"/>
                      <a:pt x="80" y="18"/>
                      <a:pt x="74" y="23"/>
                    </a:cubicBezTo>
                    <a:cubicBezTo>
                      <a:pt x="66" y="28"/>
                      <a:pt x="59" y="33"/>
                      <a:pt x="50" y="37"/>
                    </a:cubicBezTo>
                    <a:cubicBezTo>
                      <a:pt x="35" y="44"/>
                      <a:pt x="16" y="44"/>
                      <a:pt x="0" y="38"/>
                    </a:cubicBezTo>
                    <a:cubicBezTo>
                      <a:pt x="0" y="39"/>
                      <a:pt x="30" y="99"/>
                      <a:pt x="96" y="99"/>
                    </a:cubicBezTo>
                    <a:cubicBezTo>
                      <a:pt x="162" y="99"/>
                      <a:pt x="192" y="37"/>
                      <a:pt x="192" y="37"/>
                    </a:cubicBezTo>
                    <a:cubicBezTo>
                      <a:pt x="192" y="37"/>
                      <a:pt x="188" y="30"/>
                      <a:pt x="180" y="20"/>
                    </a:cubicBezTo>
                    <a:cubicBezTo>
                      <a:pt x="178" y="17"/>
                      <a:pt x="175" y="15"/>
                      <a:pt x="171" y="12"/>
                    </a:cubicBezTo>
                    <a:close/>
                  </a:path>
                </a:pathLst>
              </a:custGeom>
              <a:grpFill/>
              <a:ln>
                <a:noFill/>
              </a:ln>
            </p:spPr>
            <p:txBody>
              <a:bodyPr/>
              <a:lstStyle/>
              <a:p>
                <a:pPr>
                  <a:defRPr/>
                </a:pPr>
                <a:endParaRPr lang="en-US" kern="0" dirty="0">
                  <a:solidFill>
                    <a:sysClr val="windowText" lastClr="000000"/>
                  </a:solidFill>
                  <a:latin typeface="Arial"/>
                </a:endParaRPr>
              </a:p>
            </p:txBody>
          </p:sp>
        </p:grpSp>
        <p:sp>
          <p:nvSpPr>
            <p:cNvPr id="28" name="Freeform 210"/>
            <p:cNvSpPr>
              <a:spLocks/>
            </p:cNvSpPr>
            <p:nvPr/>
          </p:nvSpPr>
          <p:spPr bwMode="ltGray">
            <a:xfrm rot="21361732" flipH="1">
              <a:off x="3817153" y="5586590"/>
              <a:ext cx="325863" cy="227850"/>
            </a:xfrm>
            <a:custGeom>
              <a:avLst/>
              <a:gdLst>
                <a:gd name="T0" fmla="*/ 325863 w 215"/>
                <a:gd name="T1" fmla="*/ 103985 h 149"/>
                <a:gd name="T2" fmla="*/ 281909 w 215"/>
                <a:gd name="T3" fmla="*/ 120806 h 149"/>
                <a:gd name="T4" fmla="*/ 216737 w 215"/>
                <a:gd name="T5" fmla="*/ 96339 h 149"/>
                <a:gd name="T6" fmla="*/ 183393 w 215"/>
                <a:gd name="T7" fmla="*/ 42817 h 149"/>
                <a:gd name="T8" fmla="*/ 97001 w 215"/>
                <a:gd name="T9" fmla="*/ 6117 h 149"/>
                <a:gd name="T10" fmla="*/ 37891 w 215"/>
                <a:gd name="T11" fmla="*/ 149861 h 149"/>
                <a:gd name="T12" fmla="*/ 274331 w 215"/>
                <a:gd name="T13" fmla="*/ 160565 h 149"/>
                <a:gd name="T14" fmla="*/ 325863 w 215"/>
                <a:gd name="T15" fmla="*/ 103985 h 14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5" h="149">
                  <a:moveTo>
                    <a:pt x="215" y="68"/>
                  </a:moveTo>
                  <a:cubicBezTo>
                    <a:pt x="206" y="75"/>
                    <a:pt x="194" y="78"/>
                    <a:pt x="186" y="79"/>
                  </a:cubicBezTo>
                  <a:cubicBezTo>
                    <a:pt x="170" y="81"/>
                    <a:pt x="153" y="76"/>
                    <a:pt x="143" y="63"/>
                  </a:cubicBezTo>
                  <a:cubicBezTo>
                    <a:pt x="134" y="52"/>
                    <a:pt x="129" y="39"/>
                    <a:pt x="121" y="28"/>
                  </a:cubicBezTo>
                  <a:cubicBezTo>
                    <a:pt x="107" y="11"/>
                    <a:pt x="86" y="0"/>
                    <a:pt x="64" y="4"/>
                  </a:cubicBezTo>
                  <a:cubicBezTo>
                    <a:pt x="20" y="12"/>
                    <a:pt x="0" y="63"/>
                    <a:pt x="25" y="98"/>
                  </a:cubicBezTo>
                  <a:cubicBezTo>
                    <a:pt x="60" y="149"/>
                    <a:pt x="140" y="140"/>
                    <a:pt x="181" y="105"/>
                  </a:cubicBezTo>
                  <a:cubicBezTo>
                    <a:pt x="193" y="94"/>
                    <a:pt x="205" y="82"/>
                    <a:pt x="215" y="68"/>
                  </a:cubicBezTo>
                </a:path>
              </a:pathLst>
            </a:custGeom>
            <a:solidFill>
              <a:srgbClr val="F358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dirty="0">
                <a:solidFill>
                  <a:sysClr val="windowText" lastClr="000000"/>
                </a:solidFill>
              </a:endParaRPr>
            </a:p>
          </p:txBody>
        </p:sp>
        <p:sp>
          <p:nvSpPr>
            <p:cNvPr id="29" name="Freeform 210"/>
            <p:cNvSpPr>
              <a:spLocks/>
            </p:cNvSpPr>
            <p:nvPr/>
          </p:nvSpPr>
          <p:spPr bwMode="ltGray">
            <a:xfrm rot="11467442" flipH="1">
              <a:off x="3861395" y="5225505"/>
              <a:ext cx="444411" cy="311114"/>
            </a:xfrm>
            <a:custGeom>
              <a:avLst/>
              <a:gdLst>
                <a:gd name="T0" fmla="*/ 215 w 215"/>
                <a:gd name="T1" fmla="*/ 68 h 149"/>
                <a:gd name="T2" fmla="*/ 186 w 215"/>
                <a:gd name="T3" fmla="*/ 79 h 149"/>
                <a:gd name="T4" fmla="*/ 143 w 215"/>
                <a:gd name="T5" fmla="*/ 63 h 149"/>
                <a:gd name="T6" fmla="*/ 121 w 215"/>
                <a:gd name="T7" fmla="*/ 28 h 149"/>
                <a:gd name="T8" fmla="*/ 64 w 215"/>
                <a:gd name="T9" fmla="*/ 4 h 149"/>
                <a:gd name="T10" fmla="*/ 25 w 215"/>
                <a:gd name="T11" fmla="*/ 98 h 149"/>
                <a:gd name="T12" fmla="*/ 181 w 215"/>
                <a:gd name="T13" fmla="*/ 105 h 149"/>
                <a:gd name="T14" fmla="*/ 215 w 215"/>
                <a:gd name="T15" fmla="*/ 68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149">
                  <a:moveTo>
                    <a:pt x="215" y="68"/>
                  </a:moveTo>
                  <a:cubicBezTo>
                    <a:pt x="206" y="75"/>
                    <a:pt x="194" y="78"/>
                    <a:pt x="186" y="79"/>
                  </a:cubicBezTo>
                  <a:cubicBezTo>
                    <a:pt x="170" y="81"/>
                    <a:pt x="153" y="76"/>
                    <a:pt x="143" y="63"/>
                  </a:cubicBezTo>
                  <a:cubicBezTo>
                    <a:pt x="134" y="52"/>
                    <a:pt x="129" y="39"/>
                    <a:pt x="121" y="28"/>
                  </a:cubicBezTo>
                  <a:cubicBezTo>
                    <a:pt x="107" y="11"/>
                    <a:pt x="86" y="0"/>
                    <a:pt x="64" y="4"/>
                  </a:cubicBezTo>
                  <a:cubicBezTo>
                    <a:pt x="20" y="12"/>
                    <a:pt x="0" y="63"/>
                    <a:pt x="25" y="98"/>
                  </a:cubicBezTo>
                  <a:cubicBezTo>
                    <a:pt x="60" y="149"/>
                    <a:pt x="140" y="140"/>
                    <a:pt x="181" y="105"/>
                  </a:cubicBezTo>
                  <a:cubicBezTo>
                    <a:pt x="193" y="94"/>
                    <a:pt x="205" y="82"/>
                    <a:pt x="215" y="68"/>
                  </a:cubicBezTo>
                </a:path>
              </a:pathLst>
            </a:custGeom>
            <a:solidFill>
              <a:srgbClr val="BAC405"/>
            </a:solidFill>
            <a:ln>
              <a:noFill/>
            </a:ln>
          </p:spPr>
          <p:txBody>
            <a:bodyPr/>
            <a:lstStyle/>
            <a:p>
              <a:pPr>
                <a:defRPr/>
              </a:pPr>
              <a:endParaRPr lang="en-US" kern="0" dirty="0">
                <a:solidFill>
                  <a:sysClr val="windowText" lastClr="000000"/>
                </a:solidFill>
                <a:latin typeface="Arial"/>
              </a:endParaRPr>
            </a:p>
          </p:txBody>
        </p:sp>
        <p:sp>
          <p:nvSpPr>
            <p:cNvPr id="30" name="Freeform 210"/>
            <p:cNvSpPr>
              <a:spLocks/>
            </p:cNvSpPr>
            <p:nvPr/>
          </p:nvSpPr>
          <p:spPr bwMode="ltGray">
            <a:xfrm rot="15999528" flipH="1" flipV="1">
              <a:off x="4628786" y="5304086"/>
              <a:ext cx="282543" cy="198398"/>
            </a:xfrm>
            <a:custGeom>
              <a:avLst/>
              <a:gdLst>
                <a:gd name="T0" fmla="*/ 215 w 215"/>
                <a:gd name="T1" fmla="*/ 68 h 149"/>
                <a:gd name="T2" fmla="*/ 186 w 215"/>
                <a:gd name="T3" fmla="*/ 79 h 149"/>
                <a:gd name="T4" fmla="*/ 143 w 215"/>
                <a:gd name="T5" fmla="*/ 63 h 149"/>
                <a:gd name="T6" fmla="*/ 121 w 215"/>
                <a:gd name="T7" fmla="*/ 28 h 149"/>
                <a:gd name="T8" fmla="*/ 64 w 215"/>
                <a:gd name="T9" fmla="*/ 4 h 149"/>
                <a:gd name="T10" fmla="*/ 25 w 215"/>
                <a:gd name="T11" fmla="*/ 98 h 149"/>
                <a:gd name="T12" fmla="*/ 181 w 215"/>
                <a:gd name="T13" fmla="*/ 105 h 149"/>
                <a:gd name="T14" fmla="*/ 215 w 215"/>
                <a:gd name="T15" fmla="*/ 68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149">
                  <a:moveTo>
                    <a:pt x="215" y="68"/>
                  </a:moveTo>
                  <a:cubicBezTo>
                    <a:pt x="206" y="75"/>
                    <a:pt x="194" y="78"/>
                    <a:pt x="186" y="79"/>
                  </a:cubicBezTo>
                  <a:cubicBezTo>
                    <a:pt x="170" y="81"/>
                    <a:pt x="153" y="76"/>
                    <a:pt x="143" y="63"/>
                  </a:cubicBezTo>
                  <a:cubicBezTo>
                    <a:pt x="134" y="52"/>
                    <a:pt x="129" y="39"/>
                    <a:pt x="121" y="28"/>
                  </a:cubicBezTo>
                  <a:cubicBezTo>
                    <a:pt x="107" y="11"/>
                    <a:pt x="86" y="0"/>
                    <a:pt x="64" y="4"/>
                  </a:cubicBezTo>
                  <a:cubicBezTo>
                    <a:pt x="20" y="12"/>
                    <a:pt x="0" y="63"/>
                    <a:pt x="25" y="98"/>
                  </a:cubicBezTo>
                  <a:cubicBezTo>
                    <a:pt x="60" y="149"/>
                    <a:pt x="140" y="140"/>
                    <a:pt x="181" y="105"/>
                  </a:cubicBezTo>
                  <a:cubicBezTo>
                    <a:pt x="193" y="94"/>
                    <a:pt x="205" y="82"/>
                    <a:pt x="215" y="68"/>
                  </a:cubicBezTo>
                </a:path>
              </a:pathLst>
            </a:custGeom>
            <a:solidFill>
              <a:srgbClr val="00B7C6"/>
            </a:solidFill>
            <a:ln>
              <a:noFill/>
            </a:ln>
          </p:spPr>
          <p:txBody>
            <a:bodyPr/>
            <a:lstStyle/>
            <a:p>
              <a:pPr>
                <a:defRPr/>
              </a:pPr>
              <a:endParaRPr lang="en-US" kern="0" dirty="0">
                <a:solidFill>
                  <a:sysClr val="windowText" lastClr="000000"/>
                </a:solidFill>
                <a:latin typeface="Arial"/>
              </a:endParaRPr>
            </a:p>
          </p:txBody>
        </p:sp>
        <p:sp>
          <p:nvSpPr>
            <p:cNvPr id="31" name="Freeform 39"/>
            <p:cNvSpPr>
              <a:spLocks/>
            </p:cNvSpPr>
            <p:nvPr/>
          </p:nvSpPr>
          <p:spPr bwMode="ltGray">
            <a:xfrm>
              <a:off x="4820054" y="4896930"/>
              <a:ext cx="303153" cy="438100"/>
            </a:xfrm>
            <a:custGeom>
              <a:avLst/>
              <a:gdLst/>
              <a:ahLst/>
              <a:cxnLst/>
              <a:rect l="l" t="t" r="r" b="b"/>
              <a:pathLst>
                <a:path w="554038" h="801688">
                  <a:moveTo>
                    <a:pt x="233363" y="242888"/>
                  </a:moveTo>
                  <a:cubicBezTo>
                    <a:pt x="233363" y="242888"/>
                    <a:pt x="233363" y="242888"/>
                    <a:pt x="260097" y="455613"/>
                  </a:cubicBezTo>
                  <a:cubicBezTo>
                    <a:pt x="260097" y="451822"/>
                    <a:pt x="263901" y="451815"/>
                    <a:pt x="263917" y="451815"/>
                  </a:cubicBezTo>
                  <a:cubicBezTo>
                    <a:pt x="279193" y="444217"/>
                    <a:pt x="290651" y="432821"/>
                    <a:pt x="302109" y="417627"/>
                  </a:cubicBezTo>
                  <a:cubicBezTo>
                    <a:pt x="313566" y="406231"/>
                    <a:pt x="325024" y="394835"/>
                    <a:pt x="336481" y="387237"/>
                  </a:cubicBezTo>
                  <a:cubicBezTo>
                    <a:pt x="367035" y="364445"/>
                    <a:pt x="401408" y="353049"/>
                    <a:pt x="431962" y="353049"/>
                  </a:cubicBezTo>
                  <a:lnTo>
                    <a:pt x="477792" y="360647"/>
                  </a:lnTo>
                  <a:cubicBezTo>
                    <a:pt x="477792" y="360647"/>
                    <a:pt x="477792" y="360647"/>
                    <a:pt x="496888" y="242888"/>
                  </a:cubicBezTo>
                  <a:cubicBezTo>
                    <a:pt x="496888" y="242888"/>
                    <a:pt x="496888" y="242888"/>
                    <a:pt x="233363" y="242888"/>
                  </a:cubicBezTo>
                  <a:close/>
                  <a:moveTo>
                    <a:pt x="133350" y="242888"/>
                  </a:moveTo>
                  <a:cubicBezTo>
                    <a:pt x="133352" y="242902"/>
                    <a:pt x="133628" y="244628"/>
                    <a:pt x="168137" y="460672"/>
                  </a:cubicBezTo>
                  <a:cubicBezTo>
                    <a:pt x="179733" y="468313"/>
                    <a:pt x="195193" y="468313"/>
                    <a:pt x="206789" y="468313"/>
                  </a:cubicBezTo>
                  <a:cubicBezTo>
                    <a:pt x="214520" y="468313"/>
                    <a:pt x="218385" y="468313"/>
                    <a:pt x="222250" y="468313"/>
                  </a:cubicBezTo>
                  <a:cubicBezTo>
                    <a:pt x="222248" y="468299"/>
                    <a:pt x="222035" y="466525"/>
                    <a:pt x="195193" y="242888"/>
                  </a:cubicBezTo>
                  <a:cubicBezTo>
                    <a:pt x="195181" y="242888"/>
                    <a:pt x="194319" y="242888"/>
                    <a:pt x="133350" y="242888"/>
                  </a:cubicBezTo>
                  <a:close/>
                  <a:moveTo>
                    <a:pt x="11113" y="0"/>
                  </a:moveTo>
                  <a:lnTo>
                    <a:pt x="211138" y="73025"/>
                  </a:lnTo>
                  <a:lnTo>
                    <a:pt x="225425" y="193675"/>
                  </a:lnTo>
                  <a:lnTo>
                    <a:pt x="554038" y="193675"/>
                  </a:lnTo>
                  <a:lnTo>
                    <a:pt x="466725" y="801688"/>
                  </a:lnTo>
                  <a:lnTo>
                    <a:pt x="168275" y="801688"/>
                  </a:lnTo>
                  <a:lnTo>
                    <a:pt x="76200" y="193675"/>
                  </a:lnTo>
                  <a:lnTo>
                    <a:pt x="187325" y="193675"/>
                  </a:lnTo>
                  <a:lnTo>
                    <a:pt x="176213" y="98425"/>
                  </a:lnTo>
                  <a:lnTo>
                    <a:pt x="0" y="34925"/>
                  </a:lnTo>
                  <a:close/>
                </a:path>
              </a:pathLst>
            </a:custGeom>
            <a:solidFill>
              <a:srgbClr val="BAC405"/>
            </a:solidFill>
            <a:ln>
              <a:noFill/>
            </a:ln>
          </p:spPr>
          <p:txBody>
            <a:bodyPr/>
            <a:lstStyle/>
            <a:p>
              <a:pPr>
                <a:defRPr/>
              </a:pPr>
              <a:endParaRPr lang="en-US" kern="0" dirty="0">
                <a:solidFill>
                  <a:sysClr val="windowText" lastClr="000000"/>
                </a:solidFill>
                <a:latin typeface="Arial"/>
              </a:endParaRPr>
            </a:p>
          </p:txBody>
        </p:sp>
        <p:sp>
          <p:nvSpPr>
            <p:cNvPr id="32" name="Freeform 210"/>
            <p:cNvSpPr>
              <a:spLocks/>
            </p:cNvSpPr>
            <p:nvPr/>
          </p:nvSpPr>
          <p:spPr bwMode="ltGray">
            <a:xfrm rot="16842304" flipH="1">
              <a:off x="5367607" y="5741401"/>
              <a:ext cx="612705" cy="428540"/>
            </a:xfrm>
            <a:custGeom>
              <a:avLst/>
              <a:gdLst>
                <a:gd name="T0" fmla="*/ 215 w 215"/>
                <a:gd name="T1" fmla="*/ 68 h 149"/>
                <a:gd name="T2" fmla="*/ 186 w 215"/>
                <a:gd name="T3" fmla="*/ 79 h 149"/>
                <a:gd name="T4" fmla="*/ 143 w 215"/>
                <a:gd name="T5" fmla="*/ 63 h 149"/>
                <a:gd name="T6" fmla="*/ 121 w 215"/>
                <a:gd name="T7" fmla="*/ 28 h 149"/>
                <a:gd name="T8" fmla="*/ 64 w 215"/>
                <a:gd name="T9" fmla="*/ 4 h 149"/>
                <a:gd name="T10" fmla="*/ 25 w 215"/>
                <a:gd name="T11" fmla="*/ 98 h 149"/>
                <a:gd name="T12" fmla="*/ 181 w 215"/>
                <a:gd name="T13" fmla="*/ 105 h 149"/>
                <a:gd name="T14" fmla="*/ 215 w 215"/>
                <a:gd name="T15" fmla="*/ 68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149">
                  <a:moveTo>
                    <a:pt x="215" y="68"/>
                  </a:moveTo>
                  <a:cubicBezTo>
                    <a:pt x="206" y="75"/>
                    <a:pt x="194" y="78"/>
                    <a:pt x="186" y="79"/>
                  </a:cubicBezTo>
                  <a:cubicBezTo>
                    <a:pt x="170" y="81"/>
                    <a:pt x="153" y="76"/>
                    <a:pt x="143" y="63"/>
                  </a:cubicBezTo>
                  <a:cubicBezTo>
                    <a:pt x="134" y="52"/>
                    <a:pt x="129" y="39"/>
                    <a:pt x="121" y="28"/>
                  </a:cubicBezTo>
                  <a:cubicBezTo>
                    <a:pt x="107" y="11"/>
                    <a:pt x="86" y="0"/>
                    <a:pt x="64" y="4"/>
                  </a:cubicBezTo>
                  <a:cubicBezTo>
                    <a:pt x="20" y="12"/>
                    <a:pt x="0" y="63"/>
                    <a:pt x="25" y="98"/>
                  </a:cubicBezTo>
                  <a:cubicBezTo>
                    <a:pt x="60" y="149"/>
                    <a:pt x="140" y="140"/>
                    <a:pt x="181" y="105"/>
                  </a:cubicBezTo>
                  <a:cubicBezTo>
                    <a:pt x="193" y="94"/>
                    <a:pt x="205" y="82"/>
                    <a:pt x="215" y="68"/>
                  </a:cubicBezTo>
                </a:path>
              </a:pathLst>
            </a:custGeom>
            <a:solidFill>
              <a:srgbClr val="0036A3"/>
            </a:solidFill>
            <a:ln>
              <a:noFill/>
            </a:ln>
          </p:spPr>
          <p:txBody>
            <a:bodyPr/>
            <a:lstStyle/>
            <a:p>
              <a:pPr>
                <a:defRPr/>
              </a:pPr>
              <a:endParaRPr lang="en-US" kern="0" dirty="0">
                <a:solidFill>
                  <a:sysClr val="windowText" lastClr="000000"/>
                </a:solidFill>
                <a:latin typeface="Arial"/>
              </a:endParaRPr>
            </a:p>
          </p:txBody>
        </p:sp>
        <p:sp>
          <p:nvSpPr>
            <p:cNvPr id="33" name="Freeform 210"/>
            <p:cNvSpPr>
              <a:spLocks/>
            </p:cNvSpPr>
            <p:nvPr/>
          </p:nvSpPr>
          <p:spPr bwMode="ltGray">
            <a:xfrm rot="13344697" flipH="1">
              <a:off x="6091389" y="5376300"/>
              <a:ext cx="677727" cy="473021"/>
            </a:xfrm>
            <a:custGeom>
              <a:avLst/>
              <a:gdLst>
                <a:gd name="T0" fmla="*/ 215 w 215"/>
                <a:gd name="T1" fmla="*/ 68 h 149"/>
                <a:gd name="T2" fmla="*/ 186 w 215"/>
                <a:gd name="T3" fmla="*/ 79 h 149"/>
                <a:gd name="T4" fmla="*/ 143 w 215"/>
                <a:gd name="T5" fmla="*/ 63 h 149"/>
                <a:gd name="T6" fmla="*/ 121 w 215"/>
                <a:gd name="T7" fmla="*/ 28 h 149"/>
                <a:gd name="T8" fmla="*/ 64 w 215"/>
                <a:gd name="T9" fmla="*/ 4 h 149"/>
                <a:gd name="T10" fmla="*/ 25 w 215"/>
                <a:gd name="T11" fmla="*/ 98 h 149"/>
                <a:gd name="T12" fmla="*/ 181 w 215"/>
                <a:gd name="T13" fmla="*/ 105 h 149"/>
                <a:gd name="T14" fmla="*/ 215 w 215"/>
                <a:gd name="T15" fmla="*/ 68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149">
                  <a:moveTo>
                    <a:pt x="215" y="68"/>
                  </a:moveTo>
                  <a:cubicBezTo>
                    <a:pt x="206" y="75"/>
                    <a:pt x="194" y="78"/>
                    <a:pt x="186" y="79"/>
                  </a:cubicBezTo>
                  <a:cubicBezTo>
                    <a:pt x="170" y="81"/>
                    <a:pt x="153" y="76"/>
                    <a:pt x="143" y="63"/>
                  </a:cubicBezTo>
                  <a:cubicBezTo>
                    <a:pt x="134" y="52"/>
                    <a:pt x="129" y="39"/>
                    <a:pt x="121" y="28"/>
                  </a:cubicBezTo>
                  <a:cubicBezTo>
                    <a:pt x="107" y="11"/>
                    <a:pt x="86" y="0"/>
                    <a:pt x="64" y="4"/>
                  </a:cubicBezTo>
                  <a:cubicBezTo>
                    <a:pt x="20" y="12"/>
                    <a:pt x="0" y="63"/>
                    <a:pt x="25" y="98"/>
                  </a:cubicBezTo>
                  <a:cubicBezTo>
                    <a:pt x="60" y="149"/>
                    <a:pt x="140" y="140"/>
                    <a:pt x="181" y="105"/>
                  </a:cubicBezTo>
                  <a:cubicBezTo>
                    <a:pt x="193" y="94"/>
                    <a:pt x="205" y="82"/>
                    <a:pt x="215" y="68"/>
                  </a:cubicBezTo>
                </a:path>
              </a:pathLst>
            </a:custGeom>
            <a:solidFill>
              <a:srgbClr val="FCD116"/>
            </a:solidFill>
            <a:ln>
              <a:noFill/>
            </a:ln>
          </p:spPr>
          <p:txBody>
            <a:bodyPr/>
            <a:lstStyle/>
            <a:p>
              <a:pPr>
                <a:defRPr/>
              </a:pPr>
              <a:endParaRPr lang="en-US" kern="0" dirty="0">
                <a:solidFill>
                  <a:sysClr val="windowText" lastClr="000000"/>
                </a:solidFill>
                <a:latin typeface="Arial"/>
              </a:endParaRPr>
            </a:p>
          </p:txBody>
        </p:sp>
        <p:sp>
          <p:nvSpPr>
            <p:cNvPr id="34" name="Freeform 210"/>
            <p:cNvSpPr>
              <a:spLocks/>
            </p:cNvSpPr>
            <p:nvPr/>
          </p:nvSpPr>
          <p:spPr bwMode="ltGray">
            <a:xfrm rot="-7982214" flipH="1" flipV="1">
              <a:off x="7441484" y="4450353"/>
              <a:ext cx="447431" cy="312852"/>
            </a:xfrm>
            <a:custGeom>
              <a:avLst/>
              <a:gdLst>
                <a:gd name="T0" fmla="*/ 447431 w 215"/>
                <a:gd name="T1" fmla="*/ 142778 h 149"/>
                <a:gd name="T2" fmla="*/ 387080 w 215"/>
                <a:gd name="T3" fmla="*/ 165875 h 149"/>
                <a:gd name="T4" fmla="*/ 297594 w 215"/>
                <a:gd name="T5" fmla="*/ 132280 h 149"/>
                <a:gd name="T6" fmla="*/ 251810 w 215"/>
                <a:gd name="T7" fmla="*/ 58791 h 149"/>
                <a:gd name="T8" fmla="*/ 133189 w 215"/>
                <a:gd name="T9" fmla="*/ 8399 h 149"/>
                <a:gd name="T10" fmla="*/ 52027 w 215"/>
                <a:gd name="T11" fmla="*/ 205768 h 149"/>
                <a:gd name="T12" fmla="*/ 376674 w 215"/>
                <a:gd name="T13" fmla="*/ 220466 h 149"/>
                <a:gd name="T14" fmla="*/ 447431 w 215"/>
                <a:gd name="T15" fmla="*/ 142778 h 14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5" h="149">
                  <a:moveTo>
                    <a:pt x="215" y="68"/>
                  </a:moveTo>
                  <a:cubicBezTo>
                    <a:pt x="206" y="75"/>
                    <a:pt x="194" y="78"/>
                    <a:pt x="186" y="79"/>
                  </a:cubicBezTo>
                  <a:cubicBezTo>
                    <a:pt x="170" y="81"/>
                    <a:pt x="153" y="76"/>
                    <a:pt x="143" y="63"/>
                  </a:cubicBezTo>
                  <a:cubicBezTo>
                    <a:pt x="134" y="52"/>
                    <a:pt x="129" y="39"/>
                    <a:pt x="121" y="28"/>
                  </a:cubicBezTo>
                  <a:cubicBezTo>
                    <a:pt x="107" y="11"/>
                    <a:pt x="86" y="0"/>
                    <a:pt x="64" y="4"/>
                  </a:cubicBezTo>
                  <a:cubicBezTo>
                    <a:pt x="20" y="12"/>
                    <a:pt x="0" y="63"/>
                    <a:pt x="25" y="98"/>
                  </a:cubicBezTo>
                  <a:cubicBezTo>
                    <a:pt x="60" y="149"/>
                    <a:pt x="140" y="140"/>
                    <a:pt x="181" y="105"/>
                  </a:cubicBezTo>
                  <a:cubicBezTo>
                    <a:pt x="193" y="94"/>
                    <a:pt x="205" y="82"/>
                    <a:pt x="215" y="68"/>
                  </a:cubicBezTo>
                </a:path>
              </a:pathLst>
            </a:custGeom>
            <a:solidFill>
              <a:srgbClr val="4F2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dirty="0">
                <a:solidFill>
                  <a:sysClr val="windowText" lastClr="000000"/>
                </a:solidFill>
              </a:endParaRPr>
            </a:p>
          </p:txBody>
        </p:sp>
        <p:sp>
          <p:nvSpPr>
            <p:cNvPr id="35" name="Freeform 39"/>
            <p:cNvSpPr>
              <a:spLocks/>
            </p:cNvSpPr>
            <p:nvPr/>
          </p:nvSpPr>
          <p:spPr bwMode="ltGray">
            <a:xfrm rot="-460381">
              <a:off x="8434578" y="6275457"/>
              <a:ext cx="751609" cy="624668"/>
            </a:xfrm>
            <a:custGeom>
              <a:avLst/>
              <a:gdLst>
                <a:gd name="T0" fmla="*/ 1 w 751609"/>
                <a:gd name="T1" fmla="*/ 317227 h 624668"/>
                <a:gd name="T2" fmla="*/ 508227 w 751609"/>
                <a:gd name="T3" fmla="*/ 443548 h 624668"/>
                <a:gd name="T4" fmla="*/ 696937 w 751609"/>
                <a:gd name="T5" fmla="*/ 427380 h 624668"/>
                <a:gd name="T6" fmla="*/ 670357 w 751609"/>
                <a:gd name="T7" fmla="*/ 624668 h 624668"/>
                <a:gd name="T8" fmla="*/ 448239 w 751609"/>
                <a:gd name="T9" fmla="*/ 594743 h 624668"/>
                <a:gd name="T10" fmla="*/ 537475 w 751609"/>
                <a:gd name="T11" fmla="*/ 590497 h 624668"/>
                <a:gd name="T12" fmla="*/ 623640 w 751609"/>
                <a:gd name="T13" fmla="*/ 594802 h 624668"/>
                <a:gd name="T14" fmla="*/ 533166 w 751609"/>
                <a:gd name="T15" fmla="*/ 517297 h 624668"/>
                <a:gd name="T16" fmla="*/ 447067 w 751609"/>
                <a:gd name="T17" fmla="*/ 594585 h 624668"/>
                <a:gd name="T18" fmla="*/ 0 w 751609"/>
                <a:gd name="T19" fmla="*/ 534354 h 624668"/>
                <a:gd name="T20" fmla="*/ 1 w 751609"/>
                <a:gd name="T21" fmla="*/ 317227 h 624668"/>
                <a:gd name="T22" fmla="*/ 681785 w 751609"/>
                <a:gd name="T23" fmla="*/ 8845 h 624668"/>
                <a:gd name="T24" fmla="*/ 751609 w 751609"/>
                <a:gd name="T25" fmla="*/ 21582 h 624668"/>
                <a:gd name="T26" fmla="*/ 728118 w 751609"/>
                <a:gd name="T27" fmla="*/ 195938 h 624668"/>
                <a:gd name="T28" fmla="*/ 658972 w 751609"/>
                <a:gd name="T29" fmla="*/ 195938 h 624668"/>
                <a:gd name="T30" fmla="*/ 658972 w 751609"/>
                <a:gd name="T31" fmla="*/ 383168 h 624668"/>
                <a:gd name="T32" fmla="*/ 602982 w 751609"/>
                <a:gd name="T33" fmla="*/ 387522 h 624668"/>
                <a:gd name="T34" fmla="*/ 602982 w 751609"/>
                <a:gd name="T35" fmla="*/ 195938 h 624668"/>
                <a:gd name="T36" fmla="*/ 469463 w 751609"/>
                <a:gd name="T37" fmla="*/ 195938 h 624668"/>
                <a:gd name="T38" fmla="*/ 469463 w 751609"/>
                <a:gd name="T39" fmla="*/ 387522 h 624668"/>
                <a:gd name="T40" fmla="*/ 413473 w 751609"/>
                <a:gd name="T41" fmla="*/ 383168 h 624668"/>
                <a:gd name="T42" fmla="*/ 413473 w 751609"/>
                <a:gd name="T43" fmla="*/ 195938 h 624668"/>
                <a:gd name="T44" fmla="*/ 279957 w 751609"/>
                <a:gd name="T45" fmla="*/ 195938 h 624668"/>
                <a:gd name="T46" fmla="*/ 279956 w 751609"/>
                <a:gd name="T47" fmla="*/ 365751 h 624668"/>
                <a:gd name="T48" fmla="*/ 223964 w 751609"/>
                <a:gd name="T49" fmla="*/ 348334 h 624668"/>
                <a:gd name="T50" fmla="*/ 223964 w 751609"/>
                <a:gd name="T51" fmla="*/ 195938 h 624668"/>
                <a:gd name="T52" fmla="*/ 90448 w 751609"/>
                <a:gd name="T53" fmla="*/ 195938 h 624668"/>
                <a:gd name="T54" fmla="*/ 90447 w 751609"/>
                <a:gd name="T55" fmla="*/ 304793 h 624668"/>
                <a:gd name="T56" fmla="*/ 1 w 751609"/>
                <a:gd name="T57" fmla="*/ 256897 h 624668"/>
                <a:gd name="T58" fmla="*/ 1 w 751609"/>
                <a:gd name="T59" fmla="*/ 255265 h 624668"/>
                <a:gd name="T60" fmla="*/ 1 w 751609"/>
                <a:gd name="T61" fmla="*/ 243834 h 624668"/>
                <a:gd name="T62" fmla="*/ 0 w 751609"/>
                <a:gd name="T63" fmla="*/ 134979 h 624668"/>
                <a:gd name="T64" fmla="*/ 534069 w 751609"/>
                <a:gd name="T65" fmla="*/ 0 h 624668"/>
                <a:gd name="T66" fmla="*/ 681785 w 751609"/>
                <a:gd name="T67" fmla="*/ 8845 h 624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51609" h="624668">
                  <a:moveTo>
                    <a:pt x="1" y="317227"/>
                  </a:moveTo>
                  <a:cubicBezTo>
                    <a:pt x="142132" y="399989"/>
                    <a:pt x="314411" y="443548"/>
                    <a:pt x="508227" y="443548"/>
                  </a:cubicBezTo>
                  <a:cubicBezTo>
                    <a:pt x="571103" y="443548"/>
                    <a:pt x="634431" y="438505"/>
                    <a:pt x="696937" y="427380"/>
                  </a:cubicBezTo>
                  <a:lnTo>
                    <a:pt x="670357" y="624668"/>
                  </a:lnTo>
                  <a:lnTo>
                    <a:pt x="448239" y="594743"/>
                  </a:lnTo>
                  <a:cubicBezTo>
                    <a:pt x="477974" y="590496"/>
                    <a:pt x="507723" y="590496"/>
                    <a:pt x="537475" y="590497"/>
                  </a:cubicBezTo>
                  <a:lnTo>
                    <a:pt x="623640" y="594802"/>
                  </a:lnTo>
                  <a:cubicBezTo>
                    <a:pt x="619332" y="551744"/>
                    <a:pt x="580557" y="517297"/>
                    <a:pt x="533166" y="517297"/>
                  </a:cubicBezTo>
                  <a:cubicBezTo>
                    <a:pt x="490158" y="517297"/>
                    <a:pt x="451443" y="551625"/>
                    <a:pt x="447067" y="594585"/>
                  </a:cubicBezTo>
                  <a:lnTo>
                    <a:pt x="0" y="534354"/>
                  </a:lnTo>
                  <a:cubicBezTo>
                    <a:pt x="0" y="482309"/>
                    <a:pt x="0" y="412057"/>
                    <a:pt x="1" y="317227"/>
                  </a:cubicBezTo>
                  <a:close/>
                  <a:moveTo>
                    <a:pt x="681785" y="8845"/>
                  </a:moveTo>
                  <a:cubicBezTo>
                    <a:pt x="705432" y="11688"/>
                    <a:pt x="728872" y="15207"/>
                    <a:pt x="751609" y="21582"/>
                  </a:cubicBezTo>
                  <a:lnTo>
                    <a:pt x="728118" y="195938"/>
                  </a:lnTo>
                  <a:cubicBezTo>
                    <a:pt x="710397" y="195938"/>
                    <a:pt x="687795" y="195938"/>
                    <a:pt x="658972" y="195938"/>
                  </a:cubicBezTo>
                  <a:cubicBezTo>
                    <a:pt x="658973" y="195955"/>
                    <a:pt x="658971" y="197670"/>
                    <a:pt x="658972" y="383168"/>
                  </a:cubicBezTo>
                  <a:cubicBezTo>
                    <a:pt x="641745" y="387522"/>
                    <a:pt x="620209" y="387522"/>
                    <a:pt x="602982" y="387522"/>
                  </a:cubicBezTo>
                  <a:cubicBezTo>
                    <a:pt x="602982" y="387503"/>
                    <a:pt x="602982" y="385637"/>
                    <a:pt x="602982" y="195938"/>
                  </a:cubicBezTo>
                  <a:cubicBezTo>
                    <a:pt x="602962" y="195938"/>
                    <a:pt x="601326" y="195938"/>
                    <a:pt x="469463" y="195938"/>
                  </a:cubicBezTo>
                  <a:cubicBezTo>
                    <a:pt x="469465" y="195955"/>
                    <a:pt x="469464" y="197716"/>
                    <a:pt x="469463" y="387522"/>
                  </a:cubicBezTo>
                  <a:cubicBezTo>
                    <a:pt x="452235" y="387522"/>
                    <a:pt x="430701" y="387522"/>
                    <a:pt x="413473" y="383168"/>
                  </a:cubicBezTo>
                  <a:cubicBezTo>
                    <a:pt x="413473" y="383151"/>
                    <a:pt x="413473" y="381389"/>
                    <a:pt x="413473" y="195938"/>
                  </a:cubicBezTo>
                  <a:cubicBezTo>
                    <a:pt x="413451" y="195938"/>
                    <a:pt x="411765" y="195938"/>
                    <a:pt x="279957" y="195938"/>
                  </a:cubicBezTo>
                  <a:cubicBezTo>
                    <a:pt x="279955" y="195952"/>
                    <a:pt x="279957" y="197506"/>
                    <a:pt x="279956" y="365751"/>
                  </a:cubicBezTo>
                  <a:cubicBezTo>
                    <a:pt x="262727" y="361397"/>
                    <a:pt x="241193" y="357043"/>
                    <a:pt x="223964" y="348334"/>
                  </a:cubicBezTo>
                  <a:cubicBezTo>
                    <a:pt x="223966" y="348322"/>
                    <a:pt x="223964" y="346947"/>
                    <a:pt x="223964" y="195938"/>
                  </a:cubicBezTo>
                  <a:cubicBezTo>
                    <a:pt x="223943" y="195938"/>
                    <a:pt x="222271" y="195938"/>
                    <a:pt x="90448" y="195938"/>
                  </a:cubicBezTo>
                  <a:cubicBezTo>
                    <a:pt x="90448" y="195955"/>
                    <a:pt x="90448" y="197288"/>
                    <a:pt x="90447" y="304793"/>
                  </a:cubicBezTo>
                  <a:cubicBezTo>
                    <a:pt x="60299" y="291731"/>
                    <a:pt x="30149" y="274314"/>
                    <a:pt x="1" y="256897"/>
                  </a:cubicBezTo>
                  <a:cubicBezTo>
                    <a:pt x="0" y="256890"/>
                    <a:pt x="1" y="256789"/>
                    <a:pt x="1" y="255265"/>
                  </a:cubicBezTo>
                  <a:lnTo>
                    <a:pt x="1" y="243834"/>
                  </a:lnTo>
                  <a:cubicBezTo>
                    <a:pt x="1" y="243816"/>
                    <a:pt x="1" y="242438"/>
                    <a:pt x="0" y="134979"/>
                  </a:cubicBezTo>
                  <a:cubicBezTo>
                    <a:pt x="167974" y="47896"/>
                    <a:pt x="340254" y="0"/>
                    <a:pt x="534069" y="0"/>
                  </a:cubicBezTo>
                  <a:cubicBezTo>
                    <a:pt x="583600" y="0"/>
                    <a:pt x="633130" y="2993"/>
                    <a:pt x="681785" y="8845"/>
                  </a:cubicBezTo>
                  <a:close/>
                </a:path>
              </a:pathLst>
            </a:custGeom>
            <a:solidFill>
              <a:srgbClr val="4F21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dirty="0">
                <a:solidFill>
                  <a:sysClr val="windowText" lastClr="000000"/>
                </a:solidFill>
              </a:endParaRPr>
            </a:p>
          </p:txBody>
        </p:sp>
        <p:sp>
          <p:nvSpPr>
            <p:cNvPr id="36" name="Oval 12"/>
            <p:cNvSpPr>
              <a:spLocks/>
            </p:cNvSpPr>
            <p:nvPr/>
          </p:nvSpPr>
          <p:spPr bwMode="ltGray">
            <a:xfrm>
              <a:off x="8625439" y="5247350"/>
              <a:ext cx="518561" cy="909989"/>
            </a:xfrm>
            <a:custGeom>
              <a:avLst/>
              <a:gdLst>
                <a:gd name="T0" fmla="*/ 325923 w 518561"/>
                <a:gd name="T1" fmla="*/ 2908 h 909989"/>
                <a:gd name="T2" fmla="*/ 355546 w 518561"/>
                <a:gd name="T3" fmla="*/ 9166 h 909989"/>
                <a:gd name="T4" fmla="*/ 366108 w 518561"/>
                <a:gd name="T5" fmla="*/ 12428 h 909989"/>
                <a:gd name="T6" fmla="*/ 518561 w 518561"/>
                <a:gd name="T7" fmla="*/ 122296 h 909989"/>
                <a:gd name="T8" fmla="*/ 507546 w 518561"/>
                <a:gd name="T9" fmla="*/ 636144 h 909989"/>
                <a:gd name="T10" fmla="*/ 449801 w 518561"/>
                <a:gd name="T11" fmla="*/ 718604 h 909989"/>
                <a:gd name="T12" fmla="*/ 416042 w 518561"/>
                <a:gd name="T13" fmla="*/ 753533 h 909989"/>
                <a:gd name="T14" fmla="*/ 380145 w 518561"/>
                <a:gd name="T15" fmla="*/ 786133 h 909989"/>
                <a:gd name="T16" fmla="*/ 285668 w 518561"/>
                <a:gd name="T17" fmla="*/ 852235 h 909989"/>
                <a:gd name="T18" fmla="*/ 208620 w 518561"/>
                <a:gd name="T19" fmla="*/ 896303 h 909989"/>
                <a:gd name="T20" fmla="*/ 195186 w 518561"/>
                <a:gd name="T21" fmla="*/ 896279 h 909989"/>
                <a:gd name="T22" fmla="*/ 219226 w 518561"/>
                <a:gd name="T23" fmla="*/ 866190 h 909989"/>
                <a:gd name="T24" fmla="*/ 237503 w 518561"/>
                <a:gd name="T25" fmla="*/ 832617 h 909989"/>
                <a:gd name="T26" fmla="*/ 252452 w 518561"/>
                <a:gd name="T27" fmla="*/ 802146 h 909989"/>
                <a:gd name="T28" fmla="*/ 264110 w 518561"/>
                <a:gd name="T29" fmla="*/ 761042 h 909989"/>
                <a:gd name="T30" fmla="*/ 268245 w 518561"/>
                <a:gd name="T31" fmla="*/ 706503 h 909989"/>
                <a:gd name="T32" fmla="*/ 259555 w 518561"/>
                <a:gd name="T33" fmla="*/ 653586 h 909989"/>
                <a:gd name="T34" fmla="*/ 236961 w 518561"/>
                <a:gd name="T35" fmla="*/ 604560 h 909989"/>
                <a:gd name="T36" fmla="*/ 202692 w 518561"/>
                <a:gd name="T37" fmla="*/ 565463 h 909989"/>
                <a:gd name="T38" fmla="*/ 148933 w 518561"/>
                <a:gd name="T39" fmla="*/ 518602 h 909989"/>
                <a:gd name="T40" fmla="*/ 93689 w 518561"/>
                <a:gd name="T41" fmla="*/ 472912 h 909989"/>
                <a:gd name="T42" fmla="*/ 54534 w 518561"/>
                <a:gd name="T43" fmla="*/ 427513 h 909989"/>
                <a:gd name="T44" fmla="*/ 25910 w 518561"/>
                <a:gd name="T45" fmla="*/ 379470 h 909989"/>
                <a:gd name="T46" fmla="*/ 13133 w 518561"/>
                <a:gd name="T47" fmla="*/ 344902 h 909989"/>
                <a:gd name="T48" fmla="*/ 3934 w 518561"/>
                <a:gd name="T49" fmla="*/ 309635 h 909989"/>
                <a:gd name="T50" fmla="*/ 0 w 518561"/>
                <a:gd name="T51" fmla="*/ 273046 h 909989"/>
                <a:gd name="T52" fmla="*/ 1175 w 518561"/>
                <a:gd name="T53" fmla="*/ 236440 h 909989"/>
                <a:gd name="T54" fmla="*/ 8987 w 518561"/>
                <a:gd name="T55" fmla="*/ 200499 h 909989"/>
                <a:gd name="T56" fmla="*/ 22876 w 518561"/>
                <a:gd name="T57" fmla="*/ 165430 h 909989"/>
                <a:gd name="T58" fmla="*/ 50642 w 518561"/>
                <a:gd name="T59" fmla="*/ 117749 h 909989"/>
                <a:gd name="T60" fmla="*/ 100436 w 518561"/>
                <a:gd name="T61" fmla="*/ 65668 h 909989"/>
                <a:gd name="T62" fmla="*/ 158924 w 518561"/>
                <a:gd name="T63" fmla="*/ 28459 h 909989"/>
                <a:gd name="T64" fmla="*/ 223292 w 518561"/>
                <a:gd name="T65" fmla="*/ 7163 h 909989"/>
                <a:gd name="T66" fmla="*/ 291606 w 518561"/>
                <a:gd name="T67" fmla="*/ 0 h 909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8561" h="909989">
                  <a:moveTo>
                    <a:pt x="291606" y="0"/>
                  </a:moveTo>
                  <a:lnTo>
                    <a:pt x="325923" y="2908"/>
                  </a:lnTo>
                  <a:lnTo>
                    <a:pt x="334103" y="4636"/>
                  </a:lnTo>
                  <a:cubicBezTo>
                    <a:pt x="341525" y="5007"/>
                    <a:pt x="348709" y="6504"/>
                    <a:pt x="355546" y="9166"/>
                  </a:cubicBezTo>
                  <a:lnTo>
                    <a:pt x="359208" y="9940"/>
                  </a:lnTo>
                  <a:lnTo>
                    <a:pt x="366108" y="12428"/>
                  </a:lnTo>
                  <a:cubicBezTo>
                    <a:pt x="377245" y="14685"/>
                    <a:pt x="387711" y="18785"/>
                    <a:pt x="397436" y="24299"/>
                  </a:cubicBezTo>
                  <a:cubicBezTo>
                    <a:pt x="458015" y="57687"/>
                    <a:pt x="489643" y="84643"/>
                    <a:pt x="518561" y="122296"/>
                  </a:cubicBezTo>
                  <a:lnTo>
                    <a:pt x="518561" y="615241"/>
                  </a:lnTo>
                  <a:lnTo>
                    <a:pt x="507546" y="636144"/>
                  </a:lnTo>
                  <a:lnTo>
                    <a:pt x="479282" y="679020"/>
                  </a:lnTo>
                  <a:lnTo>
                    <a:pt x="449801" y="718604"/>
                  </a:lnTo>
                  <a:lnTo>
                    <a:pt x="432843" y="736721"/>
                  </a:lnTo>
                  <a:lnTo>
                    <a:pt x="416042" y="753533"/>
                  </a:lnTo>
                  <a:lnTo>
                    <a:pt x="398476" y="770004"/>
                  </a:lnTo>
                  <a:lnTo>
                    <a:pt x="380145" y="786133"/>
                  </a:lnTo>
                  <a:lnTo>
                    <a:pt x="333469" y="818976"/>
                  </a:lnTo>
                  <a:lnTo>
                    <a:pt x="285668" y="852235"/>
                  </a:lnTo>
                  <a:lnTo>
                    <a:pt x="234401" y="883032"/>
                  </a:lnTo>
                  <a:lnTo>
                    <a:pt x="208620" y="896303"/>
                  </a:lnTo>
                  <a:lnTo>
                    <a:pt x="181714" y="909989"/>
                  </a:lnTo>
                  <a:lnTo>
                    <a:pt x="195186" y="896279"/>
                  </a:lnTo>
                  <a:lnTo>
                    <a:pt x="207487" y="881131"/>
                  </a:lnTo>
                  <a:lnTo>
                    <a:pt x="219226" y="866190"/>
                  </a:lnTo>
                  <a:lnTo>
                    <a:pt x="229028" y="849470"/>
                  </a:lnTo>
                  <a:lnTo>
                    <a:pt x="237503" y="832617"/>
                  </a:lnTo>
                  <a:lnTo>
                    <a:pt x="245056" y="816729"/>
                  </a:lnTo>
                  <a:lnTo>
                    <a:pt x="252452" y="802146"/>
                  </a:lnTo>
                  <a:lnTo>
                    <a:pt x="256630" y="787505"/>
                  </a:lnTo>
                  <a:lnTo>
                    <a:pt x="264110" y="761042"/>
                  </a:lnTo>
                  <a:lnTo>
                    <a:pt x="267607" y="734180"/>
                  </a:lnTo>
                  <a:cubicBezTo>
                    <a:pt x="267820" y="724954"/>
                    <a:pt x="268032" y="715729"/>
                    <a:pt x="268245" y="706503"/>
                  </a:cubicBezTo>
                  <a:lnTo>
                    <a:pt x="266072" y="679866"/>
                  </a:lnTo>
                  <a:lnTo>
                    <a:pt x="259555" y="653586"/>
                  </a:lnTo>
                  <a:lnTo>
                    <a:pt x="250227" y="628346"/>
                  </a:lnTo>
                  <a:lnTo>
                    <a:pt x="236961" y="604560"/>
                  </a:lnTo>
                  <a:lnTo>
                    <a:pt x="218633" y="582647"/>
                  </a:lnTo>
                  <a:lnTo>
                    <a:pt x="202692" y="565463"/>
                  </a:lnTo>
                  <a:lnTo>
                    <a:pt x="185830" y="549244"/>
                  </a:lnTo>
                  <a:lnTo>
                    <a:pt x="148933" y="518602"/>
                  </a:lnTo>
                  <a:lnTo>
                    <a:pt x="111879" y="489265"/>
                  </a:lnTo>
                  <a:lnTo>
                    <a:pt x="93689" y="472912"/>
                  </a:lnTo>
                  <a:lnTo>
                    <a:pt x="78357" y="457375"/>
                  </a:lnTo>
                  <a:lnTo>
                    <a:pt x="54534" y="427513"/>
                  </a:lnTo>
                  <a:lnTo>
                    <a:pt x="34446" y="395648"/>
                  </a:lnTo>
                  <a:lnTo>
                    <a:pt x="25910" y="379470"/>
                  </a:lnTo>
                  <a:lnTo>
                    <a:pt x="19420" y="361911"/>
                  </a:lnTo>
                  <a:lnTo>
                    <a:pt x="13133" y="344902"/>
                  </a:lnTo>
                  <a:lnTo>
                    <a:pt x="7971" y="327476"/>
                  </a:lnTo>
                  <a:lnTo>
                    <a:pt x="3934" y="309635"/>
                  </a:lnTo>
                  <a:lnTo>
                    <a:pt x="1225" y="291927"/>
                  </a:lnTo>
                  <a:cubicBezTo>
                    <a:pt x="817" y="285633"/>
                    <a:pt x="408" y="279340"/>
                    <a:pt x="0" y="273046"/>
                  </a:cubicBezTo>
                  <a:cubicBezTo>
                    <a:pt x="289" y="266911"/>
                    <a:pt x="579" y="260775"/>
                    <a:pt x="868" y="254640"/>
                  </a:cubicBezTo>
                  <a:cubicBezTo>
                    <a:pt x="970" y="248573"/>
                    <a:pt x="1073" y="242507"/>
                    <a:pt x="1175" y="236440"/>
                  </a:cubicBezTo>
                  <a:lnTo>
                    <a:pt x="4699" y="218299"/>
                  </a:lnTo>
                  <a:lnTo>
                    <a:pt x="8987" y="200499"/>
                  </a:lnTo>
                  <a:lnTo>
                    <a:pt x="15729" y="182416"/>
                  </a:lnTo>
                  <a:lnTo>
                    <a:pt x="22876" y="165430"/>
                  </a:lnTo>
                  <a:lnTo>
                    <a:pt x="31553" y="149126"/>
                  </a:lnTo>
                  <a:lnTo>
                    <a:pt x="50642" y="117749"/>
                  </a:lnTo>
                  <a:lnTo>
                    <a:pt x="73603" y="89929"/>
                  </a:lnTo>
                  <a:lnTo>
                    <a:pt x="100436" y="65668"/>
                  </a:lnTo>
                  <a:lnTo>
                    <a:pt x="128329" y="46003"/>
                  </a:lnTo>
                  <a:lnTo>
                    <a:pt x="158924" y="28459"/>
                  </a:lnTo>
                  <a:lnTo>
                    <a:pt x="190218" y="16269"/>
                  </a:lnTo>
                  <a:lnTo>
                    <a:pt x="223292" y="7163"/>
                  </a:lnTo>
                  <a:lnTo>
                    <a:pt x="257224" y="2106"/>
                  </a:lnTo>
                  <a:lnTo>
                    <a:pt x="291606" y="0"/>
                  </a:lnTo>
                  <a:close/>
                </a:path>
              </a:pathLst>
            </a:custGeom>
            <a:solidFill>
              <a:srgbClr val="00B7C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dirty="0">
                <a:solidFill>
                  <a:sysClr val="windowText" lastClr="000000"/>
                </a:solidFill>
              </a:endParaRPr>
            </a:p>
          </p:txBody>
        </p:sp>
        <p:sp>
          <p:nvSpPr>
            <p:cNvPr id="37" name="Freeform 5"/>
            <p:cNvSpPr>
              <a:spLocks/>
            </p:cNvSpPr>
            <p:nvPr/>
          </p:nvSpPr>
          <p:spPr bwMode="ltGray">
            <a:xfrm rot="-1142370">
              <a:off x="7961380" y="4325496"/>
              <a:ext cx="1225017" cy="894850"/>
            </a:xfrm>
            <a:custGeom>
              <a:avLst/>
              <a:gdLst>
                <a:gd name="T0" fmla="*/ 232090 w 1225017"/>
                <a:gd name="T1" fmla="*/ 744339 h 894850"/>
                <a:gd name="T2" fmla="*/ 424798 w 1225017"/>
                <a:gd name="T3" fmla="*/ 667255 h 894850"/>
                <a:gd name="T4" fmla="*/ 466195 w 1225017"/>
                <a:gd name="T5" fmla="*/ 705797 h 894850"/>
                <a:gd name="T6" fmla="*/ 581818 w 1225017"/>
                <a:gd name="T7" fmla="*/ 705797 h 894850"/>
                <a:gd name="T8" fmla="*/ 620361 w 1225017"/>
                <a:gd name="T9" fmla="*/ 667255 h 894850"/>
                <a:gd name="T10" fmla="*/ 232090 w 1225017"/>
                <a:gd name="T11" fmla="*/ 573044 h 894850"/>
                <a:gd name="T12" fmla="*/ 817350 w 1225017"/>
                <a:gd name="T13" fmla="*/ 667255 h 894850"/>
                <a:gd name="T14" fmla="*/ 858748 w 1225017"/>
                <a:gd name="T15" fmla="*/ 705797 h 894850"/>
                <a:gd name="T16" fmla="*/ 383401 w 1225017"/>
                <a:gd name="T17" fmla="*/ 533787 h 894850"/>
                <a:gd name="T18" fmla="*/ 424798 w 1225017"/>
                <a:gd name="T19" fmla="*/ 494532 h 894850"/>
                <a:gd name="T20" fmla="*/ 1012914 w 1225017"/>
                <a:gd name="T21" fmla="*/ 744339 h 894850"/>
                <a:gd name="T22" fmla="*/ 620360 w 1225017"/>
                <a:gd name="T23" fmla="*/ 494532 h 894850"/>
                <a:gd name="T24" fmla="*/ 658902 w 1225017"/>
                <a:gd name="T25" fmla="*/ 533787 h 894850"/>
                <a:gd name="T26" fmla="*/ 190692 w 1225017"/>
                <a:gd name="T27" fmla="*/ 361778 h 894850"/>
                <a:gd name="T28" fmla="*/ 232089 w 1225017"/>
                <a:gd name="T29" fmla="*/ 323236 h 894850"/>
                <a:gd name="T30" fmla="*/ 817351 w 1225017"/>
                <a:gd name="T31" fmla="*/ 573044 h 894850"/>
                <a:gd name="T32" fmla="*/ 424798 w 1225017"/>
                <a:gd name="T33" fmla="*/ 323236 h 894850"/>
                <a:gd name="T34" fmla="*/ 466195 w 1225017"/>
                <a:gd name="T35" fmla="*/ 361778 h 894850"/>
                <a:gd name="T36" fmla="*/ 974372 w 1225017"/>
                <a:gd name="T37" fmla="*/ 533787 h 894850"/>
                <a:gd name="T38" fmla="*/ 1012914 w 1225017"/>
                <a:gd name="T39" fmla="*/ 494531 h 894850"/>
                <a:gd name="T40" fmla="*/ 620360 w 1225017"/>
                <a:gd name="T41" fmla="*/ 400320 h 894850"/>
                <a:gd name="T42" fmla="*/ 232089 w 1225017"/>
                <a:gd name="T43" fmla="*/ 144804 h 894850"/>
                <a:gd name="T44" fmla="*/ 273487 w 1225017"/>
                <a:gd name="T45" fmla="*/ 186201 h 894850"/>
                <a:gd name="T46" fmla="*/ 775953 w 1225017"/>
                <a:gd name="T47" fmla="*/ 361778 h 894850"/>
                <a:gd name="T48" fmla="*/ 817351 w 1225017"/>
                <a:gd name="T49" fmla="*/ 323236 h 894850"/>
                <a:gd name="T50" fmla="*/ 424798 w 1225017"/>
                <a:gd name="T51" fmla="*/ 227597 h 894850"/>
                <a:gd name="T52" fmla="*/ 1012914 w 1225017"/>
                <a:gd name="T53" fmla="*/ 323236 h 894850"/>
                <a:gd name="T54" fmla="*/ 1051456 w 1225017"/>
                <a:gd name="T55" fmla="*/ 361778 h 894850"/>
                <a:gd name="T56" fmla="*/ 581819 w 1225017"/>
                <a:gd name="T57" fmla="*/ 186201 h 894850"/>
                <a:gd name="T58" fmla="*/ 620361 w 1225017"/>
                <a:gd name="T59" fmla="*/ 144804 h 894850"/>
                <a:gd name="T60" fmla="*/ 817350 w 1225017"/>
                <a:gd name="T61" fmla="*/ 227597 h 894850"/>
                <a:gd name="T62" fmla="*/ 1012914 w 1225017"/>
                <a:gd name="T63" fmla="*/ 144804 h 894850"/>
                <a:gd name="T64" fmla="*/ 1051456 w 1225017"/>
                <a:gd name="T65" fmla="*/ 186201 h 894850"/>
                <a:gd name="T66" fmla="*/ 1223119 w 1225017"/>
                <a:gd name="T67" fmla="*/ 83755 h 894850"/>
                <a:gd name="T68" fmla="*/ 1184438 w 1225017"/>
                <a:gd name="T69" fmla="*/ 233665 h 894850"/>
                <a:gd name="T70" fmla="*/ 1184439 w 1225017"/>
                <a:gd name="T71" fmla="*/ 339851 h 894850"/>
                <a:gd name="T72" fmla="*/ 1184439 w 1225017"/>
                <a:gd name="T73" fmla="*/ 444649 h 894850"/>
                <a:gd name="T74" fmla="*/ 1205633 w 1225017"/>
                <a:gd name="T75" fmla="*/ 476347 h 894850"/>
                <a:gd name="T76" fmla="*/ 985507 w 1225017"/>
                <a:gd name="T77" fmla="*/ 849962 h 894850"/>
                <a:gd name="T78" fmla="*/ 852885 w 1225017"/>
                <a:gd name="T79" fmla="*/ 877722 h 894850"/>
                <a:gd name="T80" fmla="*/ 665006 w 1225017"/>
                <a:gd name="T81" fmla="*/ 849962 h 894850"/>
                <a:gd name="T82" fmla="*/ 526858 w 1225017"/>
                <a:gd name="T83" fmla="*/ 877722 h 894850"/>
                <a:gd name="T84" fmla="*/ 344504 w 1225017"/>
                <a:gd name="T85" fmla="*/ 849962 h 894850"/>
                <a:gd name="T86" fmla="*/ 211883 w 1225017"/>
                <a:gd name="T87" fmla="*/ 877722 h 894850"/>
                <a:gd name="T88" fmla="*/ 1899 w 1225017"/>
                <a:gd name="T89" fmla="*/ 811096 h 894850"/>
                <a:gd name="T90" fmla="*/ 40581 w 1225017"/>
                <a:gd name="T91" fmla="*/ 666738 h 894850"/>
                <a:gd name="T92" fmla="*/ 18477 w 1225017"/>
                <a:gd name="T93" fmla="*/ 583455 h 894850"/>
                <a:gd name="T94" fmla="*/ 40581 w 1225017"/>
                <a:gd name="T95" fmla="*/ 450202 h 894850"/>
                <a:gd name="T96" fmla="*/ 18477 w 1225017"/>
                <a:gd name="T97" fmla="*/ 366919 h 894850"/>
                <a:gd name="T98" fmla="*/ 40581 w 1225017"/>
                <a:gd name="T99" fmla="*/ 339157 h 894850"/>
                <a:gd name="T100" fmla="*/ 18477 w 1225017"/>
                <a:gd name="T101" fmla="*/ 155934 h 894850"/>
                <a:gd name="T102" fmla="*/ 79261 w 1225017"/>
                <a:gd name="T103" fmla="*/ 472 h 894850"/>
                <a:gd name="T104" fmla="*/ 239512 w 1225017"/>
                <a:gd name="T105" fmla="*/ 33785 h 894850"/>
                <a:gd name="T106" fmla="*/ 421866 w 1225017"/>
                <a:gd name="T107" fmla="*/ 6025 h 894850"/>
                <a:gd name="T108" fmla="*/ 560013 w 1225017"/>
                <a:gd name="T109" fmla="*/ 33785 h 894850"/>
                <a:gd name="T110" fmla="*/ 742367 w 1225017"/>
                <a:gd name="T111" fmla="*/ 6024 h 894850"/>
                <a:gd name="T112" fmla="*/ 880514 w 1225017"/>
                <a:gd name="T113" fmla="*/ 33785 h 894850"/>
                <a:gd name="T114" fmla="*/ 1062868 w 1225017"/>
                <a:gd name="T115" fmla="*/ 6024 h 894850"/>
                <a:gd name="T116" fmla="*/ 1180380 w 1225017"/>
                <a:gd name="T117" fmla="*/ 4896 h 894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25017" h="894850">
                  <a:moveTo>
                    <a:pt x="232089" y="667255"/>
                  </a:moveTo>
                  <a:cubicBezTo>
                    <a:pt x="209227" y="667255"/>
                    <a:pt x="190693" y="684511"/>
                    <a:pt x="190693" y="705797"/>
                  </a:cubicBezTo>
                  <a:cubicBezTo>
                    <a:pt x="190692" y="727084"/>
                    <a:pt x="209227" y="744339"/>
                    <a:pt x="232090" y="744339"/>
                  </a:cubicBezTo>
                  <a:cubicBezTo>
                    <a:pt x="254952" y="744339"/>
                    <a:pt x="273486" y="727084"/>
                    <a:pt x="273486" y="705797"/>
                  </a:cubicBezTo>
                  <a:cubicBezTo>
                    <a:pt x="273486" y="684511"/>
                    <a:pt x="254952" y="667255"/>
                    <a:pt x="232089" y="667255"/>
                  </a:cubicBezTo>
                  <a:close/>
                  <a:moveTo>
                    <a:pt x="424798" y="667255"/>
                  </a:moveTo>
                  <a:cubicBezTo>
                    <a:pt x="401935" y="667255"/>
                    <a:pt x="383400" y="684511"/>
                    <a:pt x="383401" y="705798"/>
                  </a:cubicBezTo>
                  <a:cubicBezTo>
                    <a:pt x="383401" y="727084"/>
                    <a:pt x="401935" y="744339"/>
                    <a:pt x="424798" y="744339"/>
                  </a:cubicBezTo>
                  <a:cubicBezTo>
                    <a:pt x="447661" y="744339"/>
                    <a:pt x="466195" y="727084"/>
                    <a:pt x="466195" y="705797"/>
                  </a:cubicBezTo>
                  <a:cubicBezTo>
                    <a:pt x="466195" y="684511"/>
                    <a:pt x="447661" y="667255"/>
                    <a:pt x="424798" y="667255"/>
                  </a:cubicBezTo>
                  <a:close/>
                  <a:moveTo>
                    <a:pt x="620361" y="667255"/>
                  </a:moveTo>
                  <a:cubicBezTo>
                    <a:pt x="599074" y="667255"/>
                    <a:pt x="581818" y="684511"/>
                    <a:pt x="581818" y="705797"/>
                  </a:cubicBezTo>
                  <a:cubicBezTo>
                    <a:pt x="581818" y="727083"/>
                    <a:pt x="599074" y="744339"/>
                    <a:pt x="620360" y="744339"/>
                  </a:cubicBezTo>
                  <a:cubicBezTo>
                    <a:pt x="641647" y="744339"/>
                    <a:pt x="658902" y="727083"/>
                    <a:pt x="658902" y="705797"/>
                  </a:cubicBezTo>
                  <a:cubicBezTo>
                    <a:pt x="658902" y="684510"/>
                    <a:pt x="641647" y="667255"/>
                    <a:pt x="620361" y="667255"/>
                  </a:cubicBezTo>
                  <a:close/>
                  <a:moveTo>
                    <a:pt x="232090" y="494532"/>
                  </a:moveTo>
                  <a:cubicBezTo>
                    <a:pt x="209226" y="494532"/>
                    <a:pt x="190693" y="512107"/>
                    <a:pt x="190692" y="533788"/>
                  </a:cubicBezTo>
                  <a:cubicBezTo>
                    <a:pt x="190692" y="555468"/>
                    <a:pt x="209227" y="573043"/>
                    <a:pt x="232090" y="573044"/>
                  </a:cubicBezTo>
                  <a:cubicBezTo>
                    <a:pt x="254952" y="573043"/>
                    <a:pt x="273486" y="555468"/>
                    <a:pt x="273486" y="533788"/>
                  </a:cubicBezTo>
                  <a:cubicBezTo>
                    <a:pt x="273486" y="512107"/>
                    <a:pt x="254952" y="494532"/>
                    <a:pt x="232090" y="494532"/>
                  </a:cubicBezTo>
                  <a:close/>
                  <a:moveTo>
                    <a:pt x="817350" y="667255"/>
                  </a:moveTo>
                  <a:cubicBezTo>
                    <a:pt x="794488" y="667255"/>
                    <a:pt x="775953" y="684511"/>
                    <a:pt x="775953" y="705797"/>
                  </a:cubicBezTo>
                  <a:cubicBezTo>
                    <a:pt x="775953" y="727084"/>
                    <a:pt x="794488" y="744339"/>
                    <a:pt x="817351" y="744339"/>
                  </a:cubicBezTo>
                  <a:cubicBezTo>
                    <a:pt x="840214" y="744339"/>
                    <a:pt x="858748" y="727083"/>
                    <a:pt x="858748" y="705797"/>
                  </a:cubicBezTo>
                  <a:cubicBezTo>
                    <a:pt x="858748" y="684511"/>
                    <a:pt x="840214" y="667255"/>
                    <a:pt x="817350" y="667255"/>
                  </a:cubicBezTo>
                  <a:close/>
                  <a:moveTo>
                    <a:pt x="424798" y="494532"/>
                  </a:moveTo>
                  <a:cubicBezTo>
                    <a:pt x="401935" y="494532"/>
                    <a:pt x="383401" y="512107"/>
                    <a:pt x="383401" y="533787"/>
                  </a:cubicBezTo>
                  <a:cubicBezTo>
                    <a:pt x="383401" y="555468"/>
                    <a:pt x="401935" y="573044"/>
                    <a:pt x="424798" y="573043"/>
                  </a:cubicBezTo>
                  <a:cubicBezTo>
                    <a:pt x="447661" y="573044"/>
                    <a:pt x="466195" y="555468"/>
                    <a:pt x="466195" y="533787"/>
                  </a:cubicBezTo>
                  <a:cubicBezTo>
                    <a:pt x="466195" y="512107"/>
                    <a:pt x="447661" y="494532"/>
                    <a:pt x="424798" y="494532"/>
                  </a:cubicBezTo>
                  <a:close/>
                  <a:moveTo>
                    <a:pt x="1012914" y="667255"/>
                  </a:moveTo>
                  <a:cubicBezTo>
                    <a:pt x="991627" y="667255"/>
                    <a:pt x="974372" y="684511"/>
                    <a:pt x="974372" y="705797"/>
                  </a:cubicBezTo>
                  <a:cubicBezTo>
                    <a:pt x="974372" y="727084"/>
                    <a:pt x="991628" y="744339"/>
                    <a:pt x="1012914" y="744339"/>
                  </a:cubicBezTo>
                  <a:cubicBezTo>
                    <a:pt x="1034201" y="744339"/>
                    <a:pt x="1051456" y="727084"/>
                    <a:pt x="1051456" y="705797"/>
                  </a:cubicBezTo>
                  <a:cubicBezTo>
                    <a:pt x="1051456" y="684511"/>
                    <a:pt x="1034200" y="667255"/>
                    <a:pt x="1012914" y="667255"/>
                  </a:cubicBezTo>
                  <a:close/>
                  <a:moveTo>
                    <a:pt x="620360" y="494532"/>
                  </a:moveTo>
                  <a:cubicBezTo>
                    <a:pt x="599074" y="494532"/>
                    <a:pt x="581819" y="512107"/>
                    <a:pt x="581818" y="533787"/>
                  </a:cubicBezTo>
                  <a:cubicBezTo>
                    <a:pt x="581818" y="555468"/>
                    <a:pt x="599074" y="573044"/>
                    <a:pt x="620360" y="573043"/>
                  </a:cubicBezTo>
                  <a:cubicBezTo>
                    <a:pt x="641647" y="573043"/>
                    <a:pt x="658902" y="555468"/>
                    <a:pt x="658902" y="533787"/>
                  </a:cubicBezTo>
                  <a:cubicBezTo>
                    <a:pt x="658902" y="512107"/>
                    <a:pt x="641647" y="494532"/>
                    <a:pt x="620360" y="494532"/>
                  </a:cubicBezTo>
                  <a:close/>
                  <a:moveTo>
                    <a:pt x="232089" y="323236"/>
                  </a:moveTo>
                  <a:cubicBezTo>
                    <a:pt x="209226" y="323236"/>
                    <a:pt x="190692" y="340492"/>
                    <a:pt x="190692" y="361778"/>
                  </a:cubicBezTo>
                  <a:cubicBezTo>
                    <a:pt x="190692" y="383065"/>
                    <a:pt x="209227" y="400320"/>
                    <a:pt x="232089" y="400320"/>
                  </a:cubicBezTo>
                  <a:cubicBezTo>
                    <a:pt x="254952" y="400320"/>
                    <a:pt x="273487" y="383065"/>
                    <a:pt x="273486" y="361778"/>
                  </a:cubicBezTo>
                  <a:cubicBezTo>
                    <a:pt x="273486" y="340492"/>
                    <a:pt x="254953" y="323236"/>
                    <a:pt x="232089" y="323236"/>
                  </a:cubicBezTo>
                  <a:close/>
                  <a:moveTo>
                    <a:pt x="817351" y="494532"/>
                  </a:moveTo>
                  <a:cubicBezTo>
                    <a:pt x="794488" y="494532"/>
                    <a:pt x="775954" y="512107"/>
                    <a:pt x="775953" y="533787"/>
                  </a:cubicBezTo>
                  <a:cubicBezTo>
                    <a:pt x="775954" y="555468"/>
                    <a:pt x="794488" y="573044"/>
                    <a:pt x="817351" y="573044"/>
                  </a:cubicBezTo>
                  <a:cubicBezTo>
                    <a:pt x="840214" y="573043"/>
                    <a:pt x="858748" y="555468"/>
                    <a:pt x="858748" y="533787"/>
                  </a:cubicBezTo>
                  <a:cubicBezTo>
                    <a:pt x="858747" y="512107"/>
                    <a:pt x="840214" y="494532"/>
                    <a:pt x="817351" y="494532"/>
                  </a:cubicBezTo>
                  <a:close/>
                  <a:moveTo>
                    <a:pt x="424798" y="323236"/>
                  </a:moveTo>
                  <a:cubicBezTo>
                    <a:pt x="401935" y="323236"/>
                    <a:pt x="383401" y="340491"/>
                    <a:pt x="383401" y="361778"/>
                  </a:cubicBezTo>
                  <a:cubicBezTo>
                    <a:pt x="383401" y="383065"/>
                    <a:pt x="401935" y="400320"/>
                    <a:pt x="424798" y="400320"/>
                  </a:cubicBezTo>
                  <a:cubicBezTo>
                    <a:pt x="447660" y="400320"/>
                    <a:pt x="466195" y="383064"/>
                    <a:pt x="466195" y="361778"/>
                  </a:cubicBezTo>
                  <a:cubicBezTo>
                    <a:pt x="466195" y="340491"/>
                    <a:pt x="447661" y="323236"/>
                    <a:pt x="424798" y="323236"/>
                  </a:cubicBezTo>
                  <a:close/>
                  <a:moveTo>
                    <a:pt x="1012914" y="494531"/>
                  </a:moveTo>
                  <a:cubicBezTo>
                    <a:pt x="991627" y="494531"/>
                    <a:pt x="974372" y="512107"/>
                    <a:pt x="974372" y="533787"/>
                  </a:cubicBezTo>
                  <a:cubicBezTo>
                    <a:pt x="974372" y="555468"/>
                    <a:pt x="991628" y="573044"/>
                    <a:pt x="1012914" y="573044"/>
                  </a:cubicBezTo>
                  <a:cubicBezTo>
                    <a:pt x="1034201" y="573044"/>
                    <a:pt x="1051456" y="555468"/>
                    <a:pt x="1051456" y="533788"/>
                  </a:cubicBezTo>
                  <a:cubicBezTo>
                    <a:pt x="1051457" y="512107"/>
                    <a:pt x="1034201" y="494532"/>
                    <a:pt x="1012914" y="494531"/>
                  </a:cubicBezTo>
                  <a:close/>
                  <a:moveTo>
                    <a:pt x="620360" y="323236"/>
                  </a:moveTo>
                  <a:cubicBezTo>
                    <a:pt x="599074" y="323236"/>
                    <a:pt x="581818" y="340492"/>
                    <a:pt x="581818" y="361778"/>
                  </a:cubicBezTo>
                  <a:cubicBezTo>
                    <a:pt x="581818" y="383064"/>
                    <a:pt x="599074" y="400320"/>
                    <a:pt x="620360" y="400320"/>
                  </a:cubicBezTo>
                  <a:cubicBezTo>
                    <a:pt x="641647" y="400320"/>
                    <a:pt x="658903" y="383065"/>
                    <a:pt x="658902" y="361778"/>
                  </a:cubicBezTo>
                  <a:cubicBezTo>
                    <a:pt x="658902" y="340491"/>
                    <a:pt x="641647" y="323236"/>
                    <a:pt x="620360" y="323236"/>
                  </a:cubicBezTo>
                  <a:close/>
                  <a:moveTo>
                    <a:pt x="232089" y="144804"/>
                  </a:moveTo>
                  <a:cubicBezTo>
                    <a:pt x="209227" y="144804"/>
                    <a:pt x="190693" y="163338"/>
                    <a:pt x="190692" y="186200"/>
                  </a:cubicBezTo>
                  <a:cubicBezTo>
                    <a:pt x="190693" y="209063"/>
                    <a:pt x="209227" y="227597"/>
                    <a:pt x="232089" y="227598"/>
                  </a:cubicBezTo>
                  <a:cubicBezTo>
                    <a:pt x="254952" y="227597"/>
                    <a:pt x="273486" y="209063"/>
                    <a:pt x="273487" y="186201"/>
                  </a:cubicBezTo>
                  <a:cubicBezTo>
                    <a:pt x="273486" y="163338"/>
                    <a:pt x="254952" y="144804"/>
                    <a:pt x="232089" y="144804"/>
                  </a:cubicBezTo>
                  <a:close/>
                  <a:moveTo>
                    <a:pt x="817351" y="323236"/>
                  </a:moveTo>
                  <a:cubicBezTo>
                    <a:pt x="794487" y="323236"/>
                    <a:pt x="775953" y="340491"/>
                    <a:pt x="775953" y="361778"/>
                  </a:cubicBezTo>
                  <a:cubicBezTo>
                    <a:pt x="775954" y="383065"/>
                    <a:pt x="794488" y="400320"/>
                    <a:pt x="817351" y="400320"/>
                  </a:cubicBezTo>
                  <a:cubicBezTo>
                    <a:pt x="840213" y="400320"/>
                    <a:pt x="858748" y="383064"/>
                    <a:pt x="858748" y="361778"/>
                  </a:cubicBezTo>
                  <a:cubicBezTo>
                    <a:pt x="858748" y="340492"/>
                    <a:pt x="840214" y="323236"/>
                    <a:pt x="817351" y="323236"/>
                  </a:cubicBezTo>
                  <a:close/>
                  <a:moveTo>
                    <a:pt x="424798" y="144804"/>
                  </a:moveTo>
                  <a:cubicBezTo>
                    <a:pt x="401935" y="144804"/>
                    <a:pt x="383401" y="163338"/>
                    <a:pt x="383401" y="186201"/>
                  </a:cubicBezTo>
                  <a:cubicBezTo>
                    <a:pt x="383401" y="209063"/>
                    <a:pt x="401935" y="227598"/>
                    <a:pt x="424798" y="227597"/>
                  </a:cubicBezTo>
                  <a:cubicBezTo>
                    <a:pt x="447661" y="227597"/>
                    <a:pt x="466195" y="209063"/>
                    <a:pt x="466195" y="186200"/>
                  </a:cubicBezTo>
                  <a:cubicBezTo>
                    <a:pt x="466195" y="163338"/>
                    <a:pt x="447661" y="144803"/>
                    <a:pt x="424798" y="144804"/>
                  </a:cubicBezTo>
                  <a:close/>
                  <a:moveTo>
                    <a:pt x="1012914" y="323236"/>
                  </a:moveTo>
                  <a:cubicBezTo>
                    <a:pt x="991627" y="323236"/>
                    <a:pt x="974372" y="340491"/>
                    <a:pt x="974372" y="361778"/>
                  </a:cubicBezTo>
                  <a:cubicBezTo>
                    <a:pt x="974372" y="383064"/>
                    <a:pt x="991628" y="400320"/>
                    <a:pt x="1012914" y="400320"/>
                  </a:cubicBezTo>
                  <a:cubicBezTo>
                    <a:pt x="1034201" y="400320"/>
                    <a:pt x="1051456" y="383064"/>
                    <a:pt x="1051456" y="361778"/>
                  </a:cubicBezTo>
                  <a:cubicBezTo>
                    <a:pt x="1051456" y="340491"/>
                    <a:pt x="1034200" y="323236"/>
                    <a:pt x="1012914" y="323236"/>
                  </a:cubicBezTo>
                  <a:close/>
                  <a:moveTo>
                    <a:pt x="620361" y="144804"/>
                  </a:moveTo>
                  <a:cubicBezTo>
                    <a:pt x="599074" y="144804"/>
                    <a:pt x="581818" y="163338"/>
                    <a:pt x="581819" y="186201"/>
                  </a:cubicBezTo>
                  <a:cubicBezTo>
                    <a:pt x="581819" y="209063"/>
                    <a:pt x="599074" y="227597"/>
                    <a:pt x="620361" y="227597"/>
                  </a:cubicBezTo>
                  <a:cubicBezTo>
                    <a:pt x="641647" y="227598"/>
                    <a:pt x="658902" y="209064"/>
                    <a:pt x="658903" y="186200"/>
                  </a:cubicBezTo>
                  <a:cubicBezTo>
                    <a:pt x="658902" y="163337"/>
                    <a:pt x="641647" y="144804"/>
                    <a:pt x="620361" y="144804"/>
                  </a:cubicBezTo>
                  <a:close/>
                  <a:moveTo>
                    <a:pt x="817350" y="144804"/>
                  </a:moveTo>
                  <a:cubicBezTo>
                    <a:pt x="794488" y="144804"/>
                    <a:pt x="775954" y="163337"/>
                    <a:pt x="775954" y="186200"/>
                  </a:cubicBezTo>
                  <a:cubicBezTo>
                    <a:pt x="775954" y="209064"/>
                    <a:pt x="794488" y="227597"/>
                    <a:pt x="817350" y="227597"/>
                  </a:cubicBezTo>
                  <a:cubicBezTo>
                    <a:pt x="840213" y="227597"/>
                    <a:pt x="858747" y="209063"/>
                    <a:pt x="858748" y="186200"/>
                  </a:cubicBezTo>
                  <a:cubicBezTo>
                    <a:pt x="858748" y="163338"/>
                    <a:pt x="840213" y="144803"/>
                    <a:pt x="817350" y="144804"/>
                  </a:cubicBezTo>
                  <a:close/>
                  <a:moveTo>
                    <a:pt x="1012914" y="144804"/>
                  </a:moveTo>
                  <a:cubicBezTo>
                    <a:pt x="991627" y="144804"/>
                    <a:pt x="974372" y="163338"/>
                    <a:pt x="974372" y="186200"/>
                  </a:cubicBezTo>
                  <a:cubicBezTo>
                    <a:pt x="974372" y="209063"/>
                    <a:pt x="991627" y="227597"/>
                    <a:pt x="1012914" y="227598"/>
                  </a:cubicBezTo>
                  <a:cubicBezTo>
                    <a:pt x="1034200" y="227597"/>
                    <a:pt x="1051457" y="209064"/>
                    <a:pt x="1051456" y="186201"/>
                  </a:cubicBezTo>
                  <a:cubicBezTo>
                    <a:pt x="1051456" y="163338"/>
                    <a:pt x="1034200" y="144803"/>
                    <a:pt x="1012914" y="144804"/>
                  </a:cubicBezTo>
                  <a:close/>
                  <a:moveTo>
                    <a:pt x="1180380" y="4896"/>
                  </a:moveTo>
                  <a:cubicBezTo>
                    <a:pt x="1211722" y="17129"/>
                    <a:pt x="1231407" y="50442"/>
                    <a:pt x="1223119" y="83755"/>
                  </a:cubicBezTo>
                  <a:cubicBezTo>
                    <a:pt x="1217593" y="105964"/>
                    <a:pt x="1201016" y="117068"/>
                    <a:pt x="1184438" y="128173"/>
                  </a:cubicBezTo>
                  <a:cubicBezTo>
                    <a:pt x="1195489" y="133725"/>
                    <a:pt x="1201016" y="144830"/>
                    <a:pt x="1206542" y="155934"/>
                  </a:cubicBezTo>
                  <a:cubicBezTo>
                    <a:pt x="1223119" y="183695"/>
                    <a:pt x="1206542" y="217009"/>
                    <a:pt x="1184438" y="233665"/>
                  </a:cubicBezTo>
                  <a:cubicBezTo>
                    <a:pt x="1195489" y="239217"/>
                    <a:pt x="1201016" y="250322"/>
                    <a:pt x="1206541" y="261426"/>
                  </a:cubicBezTo>
                  <a:cubicBezTo>
                    <a:pt x="1223119" y="294740"/>
                    <a:pt x="1206541" y="322500"/>
                    <a:pt x="1184438" y="339157"/>
                  </a:cubicBezTo>
                  <a:cubicBezTo>
                    <a:pt x="1184438" y="339169"/>
                    <a:pt x="1184438" y="339246"/>
                    <a:pt x="1184439" y="339851"/>
                  </a:cubicBezTo>
                  <a:lnTo>
                    <a:pt x="1184438" y="344709"/>
                  </a:lnTo>
                  <a:cubicBezTo>
                    <a:pt x="1195489" y="350262"/>
                    <a:pt x="1201015" y="355814"/>
                    <a:pt x="1206541" y="366919"/>
                  </a:cubicBezTo>
                  <a:cubicBezTo>
                    <a:pt x="1223119" y="400232"/>
                    <a:pt x="1206541" y="433545"/>
                    <a:pt x="1184439" y="444649"/>
                  </a:cubicBezTo>
                  <a:cubicBezTo>
                    <a:pt x="1184438" y="444661"/>
                    <a:pt x="1184438" y="444735"/>
                    <a:pt x="1184438" y="445343"/>
                  </a:cubicBezTo>
                  <a:lnTo>
                    <a:pt x="1184438" y="450202"/>
                  </a:lnTo>
                  <a:cubicBezTo>
                    <a:pt x="1194940" y="455477"/>
                    <a:pt x="1200452" y="465766"/>
                    <a:pt x="1205633" y="476347"/>
                  </a:cubicBezTo>
                  <a:lnTo>
                    <a:pt x="1068583" y="873479"/>
                  </a:lnTo>
                  <a:cubicBezTo>
                    <a:pt x="1066979" y="875466"/>
                    <a:pt x="1064924" y="876690"/>
                    <a:pt x="1062869" y="877722"/>
                  </a:cubicBezTo>
                  <a:cubicBezTo>
                    <a:pt x="1035239" y="888827"/>
                    <a:pt x="1002084" y="877722"/>
                    <a:pt x="985507" y="849962"/>
                  </a:cubicBezTo>
                  <a:cubicBezTo>
                    <a:pt x="979980" y="861066"/>
                    <a:pt x="968928" y="872171"/>
                    <a:pt x="957877" y="877722"/>
                  </a:cubicBezTo>
                  <a:cubicBezTo>
                    <a:pt x="924721" y="888827"/>
                    <a:pt x="891567" y="877723"/>
                    <a:pt x="880514" y="849961"/>
                  </a:cubicBezTo>
                  <a:cubicBezTo>
                    <a:pt x="869462" y="861065"/>
                    <a:pt x="863937" y="872171"/>
                    <a:pt x="852885" y="877722"/>
                  </a:cubicBezTo>
                  <a:cubicBezTo>
                    <a:pt x="819730" y="888827"/>
                    <a:pt x="786574" y="877722"/>
                    <a:pt x="769996" y="849962"/>
                  </a:cubicBezTo>
                  <a:cubicBezTo>
                    <a:pt x="764471" y="861066"/>
                    <a:pt x="753419" y="872171"/>
                    <a:pt x="742367" y="877722"/>
                  </a:cubicBezTo>
                  <a:cubicBezTo>
                    <a:pt x="714737" y="888827"/>
                    <a:pt x="681582" y="877722"/>
                    <a:pt x="665006" y="849962"/>
                  </a:cubicBezTo>
                  <a:cubicBezTo>
                    <a:pt x="659479" y="861066"/>
                    <a:pt x="648428" y="872171"/>
                    <a:pt x="637376" y="877722"/>
                  </a:cubicBezTo>
                  <a:cubicBezTo>
                    <a:pt x="604221" y="888827"/>
                    <a:pt x="571065" y="877723"/>
                    <a:pt x="560013" y="849961"/>
                  </a:cubicBezTo>
                  <a:cubicBezTo>
                    <a:pt x="548962" y="861066"/>
                    <a:pt x="543436" y="872171"/>
                    <a:pt x="526858" y="877722"/>
                  </a:cubicBezTo>
                  <a:cubicBezTo>
                    <a:pt x="499229" y="888827"/>
                    <a:pt x="466074" y="877722"/>
                    <a:pt x="449496" y="849962"/>
                  </a:cubicBezTo>
                  <a:cubicBezTo>
                    <a:pt x="443969" y="861066"/>
                    <a:pt x="432918" y="872171"/>
                    <a:pt x="421866" y="877722"/>
                  </a:cubicBezTo>
                  <a:cubicBezTo>
                    <a:pt x="394237" y="888827"/>
                    <a:pt x="361081" y="877722"/>
                    <a:pt x="344504" y="849962"/>
                  </a:cubicBezTo>
                  <a:cubicBezTo>
                    <a:pt x="338979" y="861066"/>
                    <a:pt x="327926" y="872171"/>
                    <a:pt x="316874" y="877722"/>
                  </a:cubicBezTo>
                  <a:cubicBezTo>
                    <a:pt x="283719" y="888827"/>
                    <a:pt x="250564" y="877722"/>
                    <a:pt x="239512" y="849962"/>
                  </a:cubicBezTo>
                  <a:cubicBezTo>
                    <a:pt x="233986" y="861066"/>
                    <a:pt x="222935" y="872171"/>
                    <a:pt x="211883" y="877722"/>
                  </a:cubicBezTo>
                  <a:cubicBezTo>
                    <a:pt x="178727" y="888827"/>
                    <a:pt x="145572" y="877722"/>
                    <a:pt x="134520" y="855514"/>
                  </a:cubicBezTo>
                  <a:cubicBezTo>
                    <a:pt x="117942" y="872171"/>
                    <a:pt x="101365" y="888827"/>
                    <a:pt x="79261" y="894379"/>
                  </a:cubicBezTo>
                  <a:cubicBezTo>
                    <a:pt x="29528" y="899931"/>
                    <a:pt x="-9153" y="855514"/>
                    <a:pt x="1899" y="811096"/>
                  </a:cubicBezTo>
                  <a:cubicBezTo>
                    <a:pt x="7425" y="788887"/>
                    <a:pt x="24002" y="777783"/>
                    <a:pt x="40581" y="766679"/>
                  </a:cubicBezTo>
                  <a:cubicBezTo>
                    <a:pt x="18477" y="750021"/>
                    <a:pt x="7424" y="722261"/>
                    <a:pt x="18476" y="688947"/>
                  </a:cubicBezTo>
                  <a:cubicBezTo>
                    <a:pt x="24002" y="677842"/>
                    <a:pt x="29529" y="672291"/>
                    <a:pt x="40581" y="666738"/>
                  </a:cubicBezTo>
                  <a:cubicBezTo>
                    <a:pt x="40581" y="666733"/>
                    <a:pt x="40580" y="666671"/>
                    <a:pt x="40581" y="666044"/>
                  </a:cubicBezTo>
                  <a:lnTo>
                    <a:pt x="40581" y="661186"/>
                  </a:lnTo>
                  <a:cubicBezTo>
                    <a:pt x="18477" y="644529"/>
                    <a:pt x="7425" y="611216"/>
                    <a:pt x="18477" y="583455"/>
                  </a:cubicBezTo>
                  <a:cubicBezTo>
                    <a:pt x="24002" y="572350"/>
                    <a:pt x="29529" y="561246"/>
                    <a:pt x="40581" y="555694"/>
                  </a:cubicBezTo>
                  <a:cubicBezTo>
                    <a:pt x="18477" y="539037"/>
                    <a:pt x="7425" y="505724"/>
                    <a:pt x="18477" y="477962"/>
                  </a:cubicBezTo>
                  <a:cubicBezTo>
                    <a:pt x="24002" y="466858"/>
                    <a:pt x="29528" y="455754"/>
                    <a:pt x="40581" y="450202"/>
                  </a:cubicBezTo>
                  <a:cubicBezTo>
                    <a:pt x="40581" y="450192"/>
                    <a:pt x="40581" y="450124"/>
                    <a:pt x="40581" y="449508"/>
                  </a:cubicBezTo>
                  <a:lnTo>
                    <a:pt x="40581" y="444649"/>
                  </a:lnTo>
                  <a:cubicBezTo>
                    <a:pt x="18477" y="427993"/>
                    <a:pt x="7425" y="400232"/>
                    <a:pt x="18477" y="366919"/>
                  </a:cubicBezTo>
                  <a:cubicBezTo>
                    <a:pt x="24002" y="355814"/>
                    <a:pt x="29528" y="350262"/>
                    <a:pt x="40580" y="344710"/>
                  </a:cubicBezTo>
                  <a:cubicBezTo>
                    <a:pt x="40581" y="344703"/>
                    <a:pt x="40581" y="344638"/>
                    <a:pt x="40580" y="344015"/>
                  </a:cubicBezTo>
                  <a:lnTo>
                    <a:pt x="40581" y="339157"/>
                  </a:lnTo>
                  <a:cubicBezTo>
                    <a:pt x="18477" y="322501"/>
                    <a:pt x="7425" y="289187"/>
                    <a:pt x="18477" y="261426"/>
                  </a:cubicBezTo>
                  <a:cubicBezTo>
                    <a:pt x="24002" y="250322"/>
                    <a:pt x="29528" y="239217"/>
                    <a:pt x="40580" y="233665"/>
                  </a:cubicBezTo>
                  <a:cubicBezTo>
                    <a:pt x="18477" y="217009"/>
                    <a:pt x="7425" y="183695"/>
                    <a:pt x="18477" y="155934"/>
                  </a:cubicBezTo>
                  <a:cubicBezTo>
                    <a:pt x="24002" y="144830"/>
                    <a:pt x="29529" y="133725"/>
                    <a:pt x="40581" y="128173"/>
                  </a:cubicBezTo>
                  <a:cubicBezTo>
                    <a:pt x="24002" y="117068"/>
                    <a:pt x="7425" y="105964"/>
                    <a:pt x="1899" y="83755"/>
                  </a:cubicBezTo>
                  <a:cubicBezTo>
                    <a:pt x="-9153" y="39338"/>
                    <a:pt x="29529" y="-5081"/>
                    <a:pt x="79261" y="472"/>
                  </a:cubicBezTo>
                  <a:cubicBezTo>
                    <a:pt x="101365" y="6024"/>
                    <a:pt x="117943" y="17129"/>
                    <a:pt x="128994" y="33785"/>
                  </a:cubicBezTo>
                  <a:cubicBezTo>
                    <a:pt x="145572" y="6024"/>
                    <a:pt x="178727" y="-5081"/>
                    <a:pt x="211883" y="6024"/>
                  </a:cubicBezTo>
                  <a:cubicBezTo>
                    <a:pt x="222935" y="11576"/>
                    <a:pt x="233986" y="22681"/>
                    <a:pt x="239512" y="33785"/>
                  </a:cubicBezTo>
                  <a:cubicBezTo>
                    <a:pt x="250564" y="6025"/>
                    <a:pt x="283719" y="-5081"/>
                    <a:pt x="316874" y="6025"/>
                  </a:cubicBezTo>
                  <a:cubicBezTo>
                    <a:pt x="327926" y="11576"/>
                    <a:pt x="338978" y="22681"/>
                    <a:pt x="344504" y="33785"/>
                  </a:cubicBezTo>
                  <a:cubicBezTo>
                    <a:pt x="361081" y="6024"/>
                    <a:pt x="394237" y="-5081"/>
                    <a:pt x="421866" y="6025"/>
                  </a:cubicBezTo>
                  <a:cubicBezTo>
                    <a:pt x="432917" y="11576"/>
                    <a:pt x="443969" y="22681"/>
                    <a:pt x="449496" y="33785"/>
                  </a:cubicBezTo>
                  <a:cubicBezTo>
                    <a:pt x="466073" y="6024"/>
                    <a:pt x="499228" y="-5080"/>
                    <a:pt x="526858" y="6025"/>
                  </a:cubicBezTo>
                  <a:cubicBezTo>
                    <a:pt x="543435" y="11576"/>
                    <a:pt x="548962" y="22681"/>
                    <a:pt x="560013" y="33785"/>
                  </a:cubicBezTo>
                  <a:cubicBezTo>
                    <a:pt x="571064" y="6025"/>
                    <a:pt x="604221" y="-5081"/>
                    <a:pt x="637376" y="6025"/>
                  </a:cubicBezTo>
                  <a:cubicBezTo>
                    <a:pt x="648428" y="11576"/>
                    <a:pt x="659479" y="22681"/>
                    <a:pt x="665006" y="33785"/>
                  </a:cubicBezTo>
                  <a:cubicBezTo>
                    <a:pt x="681583" y="6024"/>
                    <a:pt x="714738" y="-5080"/>
                    <a:pt x="742367" y="6024"/>
                  </a:cubicBezTo>
                  <a:cubicBezTo>
                    <a:pt x="753419" y="11576"/>
                    <a:pt x="764471" y="22681"/>
                    <a:pt x="769996" y="33785"/>
                  </a:cubicBezTo>
                  <a:cubicBezTo>
                    <a:pt x="786574" y="6025"/>
                    <a:pt x="819730" y="-5080"/>
                    <a:pt x="852885" y="6024"/>
                  </a:cubicBezTo>
                  <a:cubicBezTo>
                    <a:pt x="863937" y="11576"/>
                    <a:pt x="869462" y="22681"/>
                    <a:pt x="880514" y="33785"/>
                  </a:cubicBezTo>
                  <a:cubicBezTo>
                    <a:pt x="891566" y="6025"/>
                    <a:pt x="924721" y="-5080"/>
                    <a:pt x="957877" y="6025"/>
                  </a:cubicBezTo>
                  <a:cubicBezTo>
                    <a:pt x="968928" y="11576"/>
                    <a:pt x="979980" y="22681"/>
                    <a:pt x="985507" y="33785"/>
                  </a:cubicBezTo>
                  <a:cubicBezTo>
                    <a:pt x="1002084" y="6024"/>
                    <a:pt x="1035239" y="-5080"/>
                    <a:pt x="1062868" y="6024"/>
                  </a:cubicBezTo>
                  <a:cubicBezTo>
                    <a:pt x="1073921" y="11576"/>
                    <a:pt x="1084973" y="22681"/>
                    <a:pt x="1090499" y="33786"/>
                  </a:cubicBezTo>
                  <a:cubicBezTo>
                    <a:pt x="1107075" y="17128"/>
                    <a:pt x="1123653" y="6025"/>
                    <a:pt x="1145757" y="472"/>
                  </a:cubicBezTo>
                  <a:cubicBezTo>
                    <a:pt x="1158190" y="-916"/>
                    <a:pt x="1169932" y="819"/>
                    <a:pt x="1180380" y="4896"/>
                  </a:cubicBezTo>
                  <a:close/>
                </a:path>
              </a:pathLst>
            </a:custGeom>
            <a:solidFill>
              <a:srgbClr val="F358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dirty="0">
                <a:solidFill>
                  <a:sysClr val="windowText" lastClr="000000"/>
                </a:solidFill>
              </a:endParaRPr>
            </a:p>
          </p:txBody>
        </p:sp>
      </p:grpSp>
      <p:sp>
        <p:nvSpPr>
          <p:cNvPr id="2" name="Slide Number Placeholder 1"/>
          <p:cNvSpPr>
            <a:spLocks noGrp="1"/>
          </p:cNvSpPr>
          <p:nvPr>
            <p:ph type="sldNum" sz="quarter" idx="4"/>
          </p:nvPr>
        </p:nvSpPr>
        <p:spPr/>
        <p:txBody>
          <a:bodyPr/>
          <a:lstStyle/>
          <a:p>
            <a:fld id="{762E173B-5CD9-42D2-B9F7-1887BD1B3F65}" type="slidenum">
              <a:rPr lang="en-US" smtClean="0"/>
              <a:pPr/>
              <a:t>1</a:t>
            </a:fld>
            <a:endParaRPr lang="en-US" dirty="0"/>
          </a:p>
        </p:txBody>
      </p:sp>
      <p:graphicFrame>
        <p:nvGraphicFramePr>
          <p:cNvPr id="18" name="Table 17"/>
          <p:cNvGraphicFramePr>
            <a:graphicFrameLocks noGrp="1"/>
          </p:cNvGraphicFramePr>
          <p:nvPr>
            <p:extLst>
              <p:ext uri="{D42A27DB-BD31-4B8C-83A1-F6EECF244321}">
                <p14:modId xmlns:p14="http://schemas.microsoft.com/office/powerpoint/2010/main" val="3081063431"/>
              </p:ext>
            </p:extLst>
          </p:nvPr>
        </p:nvGraphicFramePr>
        <p:xfrm>
          <a:off x="761999" y="2654519"/>
          <a:ext cx="9953167" cy="1935853"/>
        </p:xfrm>
        <a:graphic>
          <a:graphicData uri="http://schemas.openxmlformats.org/drawingml/2006/table">
            <a:tbl>
              <a:tblPr firstRow="1" bandRow="1"/>
              <a:tblGrid>
                <a:gridCol w="2269112">
                  <a:extLst>
                    <a:ext uri="{9D8B030D-6E8A-4147-A177-3AD203B41FA5}">
                      <a16:colId xmlns:a16="http://schemas.microsoft.com/office/drawing/2014/main" val="20000"/>
                    </a:ext>
                  </a:extLst>
                </a:gridCol>
                <a:gridCol w="1804981">
                  <a:extLst>
                    <a:ext uri="{9D8B030D-6E8A-4147-A177-3AD203B41FA5}">
                      <a16:colId xmlns:a16="http://schemas.microsoft.com/office/drawing/2014/main" val="20001"/>
                    </a:ext>
                  </a:extLst>
                </a:gridCol>
                <a:gridCol w="1779194">
                  <a:extLst>
                    <a:ext uri="{9D8B030D-6E8A-4147-A177-3AD203B41FA5}">
                      <a16:colId xmlns:a16="http://schemas.microsoft.com/office/drawing/2014/main" val="20002"/>
                    </a:ext>
                  </a:extLst>
                </a:gridCol>
                <a:gridCol w="2604914">
                  <a:extLst>
                    <a:ext uri="{9D8B030D-6E8A-4147-A177-3AD203B41FA5}">
                      <a16:colId xmlns:a16="http://schemas.microsoft.com/office/drawing/2014/main" val="20003"/>
                    </a:ext>
                  </a:extLst>
                </a:gridCol>
                <a:gridCol w="1494966">
                  <a:extLst>
                    <a:ext uri="{9D8B030D-6E8A-4147-A177-3AD203B41FA5}">
                      <a16:colId xmlns:a16="http://schemas.microsoft.com/office/drawing/2014/main" val="20004"/>
                    </a:ext>
                  </a:extLst>
                </a:gridCol>
              </a:tblGrid>
              <a:tr h="637194">
                <a:tc>
                  <a:txBody>
                    <a:bodyPr/>
                    <a:lstStyle>
                      <a:lvl1pPr marL="0" algn="l" defTabSz="456888" rtl="0" eaLnBrk="1" latinLnBrk="0" hangingPunct="1">
                        <a:defRPr sz="1800" kern="1200">
                          <a:solidFill>
                            <a:schemeClr val="tx1"/>
                          </a:solidFill>
                          <a:latin typeface="Arial"/>
                          <a:ea typeface=""/>
                          <a:cs typeface=""/>
                        </a:defRPr>
                      </a:lvl1pPr>
                      <a:lvl2pPr marL="456888" algn="l" defTabSz="456888" rtl="0" eaLnBrk="1" latinLnBrk="0" hangingPunct="1">
                        <a:defRPr sz="1800" kern="1200">
                          <a:solidFill>
                            <a:schemeClr val="tx1"/>
                          </a:solidFill>
                          <a:latin typeface="Arial"/>
                          <a:ea typeface=""/>
                          <a:cs typeface=""/>
                        </a:defRPr>
                      </a:lvl2pPr>
                      <a:lvl3pPr marL="913771" algn="l" defTabSz="456888" rtl="0" eaLnBrk="1" latinLnBrk="0" hangingPunct="1">
                        <a:defRPr sz="1800" kern="1200">
                          <a:solidFill>
                            <a:schemeClr val="tx1"/>
                          </a:solidFill>
                          <a:latin typeface="Arial"/>
                          <a:ea typeface=""/>
                          <a:cs typeface=""/>
                        </a:defRPr>
                      </a:lvl3pPr>
                      <a:lvl4pPr marL="1370660" algn="l" defTabSz="456888" rtl="0" eaLnBrk="1" latinLnBrk="0" hangingPunct="1">
                        <a:defRPr sz="1800" kern="1200">
                          <a:solidFill>
                            <a:schemeClr val="tx1"/>
                          </a:solidFill>
                          <a:latin typeface="Arial"/>
                          <a:ea typeface=""/>
                          <a:cs typeface=""/>
                        </a:defRPr>
                      </a:lvl4pPr>
                      <a:lvl5pPr marL="1827543" algn="l" defTabSz="456888" rtl="0" eaLnBrk="1" latinLnBrk="0" hangingPunct="1">
                        <a:defRPr sz="1800" kern="1200">
                          <a:solidFill>
                            <a:schemeClr val="tx1"/>
                          </a:solidFill>
                          <a:latin typeface="Arial"/>
                          <a:ea typeface=""/>
                          <a:cs typeface=""/>
                        </a:defRPr>
                      </a:lvl5pPr>
                      <a:lvl6pPr marL="2284430" algn="l" defTabSz="456888" rtl="0" eaLnBrk="1" latinLnBrk="0" hangingPunct="1">
                        <a:defRPr sz="1800" kern="1200">
                          <a:solidFill>
                            <a:schemeClr val="tx1"/>
                          </a:solidFill>
                          <a:latin typeface="Arial"/>
                          <a:ea typeface=""/>
                          <a:cs typeface=""/>
                        </a:defRPr>
                      </a:lvl6pPr>
                      <a:lvl7pPr marL="2741316" algn="l" defTabSz="456888" rtl="0" eaLnBrk="1" latinLnBrk="0" hangingPunct="1">
                        <a:defRPr sz="1800" kern="1200">
                          <a:solidFill>
                            <a:schemeClr val="tx1"/>
                          </a:solidFill>
                          <a:latin typeface="Arial"/>
                          <a:ea typeface=""/>
                          <a:cs typeface=""/>
                        </a:defRPr>
                      </a:lvl7pPr>
                      <a:lvl8pPr marL="3198202" algn="l" defTabSz="456888" rtl="0" eaLnBrk="1" latinLnBrk="0" hangingPunct="1">
                        <a:defRPr sz="1800" kern="1200">
                          <a:solidFill>
                            <a:schemeClr val="tx1"/>
                          </a:solidFill>
                          <a:latin typeface="Arial"/>
                          <a:ea typeface=""/>
                          <a:cs typeface=""/>
                        </a:defRPr>
                      </a:lvl8pPr>
                      <a:lvl9pPr marL="3655090" algn="l" defTabSz="456888" rtl="0" eaLnBrk="1" latinLnBrk="0" hangingPunct="1">
                        <a:defRPr sz="1800" kern="1200">
                          <a:solidFill>
                            <a:schemeClr val="tx1"/>
                          </a:solidFill>
                          <a:latin typeface="Arial"/>
                          <a:ea typeface=""/>
                          <a:cs typeface=""/>
                        </a:defRPr>
                      </a:lvl9pPr>
                    </a:lstStyle>
                    <a:p>
                      <a:pPr marL="0" algn="l" defTabSz="914400" rtl="0" eaLnBrk="1" latinLnBrk="0" hangingPunct="1"/>
                      <a:r>
                        <a:rPr lang="en-US" sz="1100" b="1" kern="1200" noProof="0" dirty="0">
                          <a:solidFill>
                            <a:schemeClr val="lt1"/>
                          </a:solidFill>
                          <a:latin typeface="Calibri"/>
                          <a:ea typeface=""/>
                          <a:cs typeface=""/>
                        </a:rPr>
                        <a:t>Version History</a:t>
                      </a:r>
                    </a:p>
                  </a:txBody>
                  <a:tcPr marT="45707" marB="45707">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064A2"/>
                    </a:solidFill>
                  </a:tcPr>
                </a:tc>
                <a:tc>
                  <a:txBody>
                    <a:bodyPr/>
                    <a:lstStyle>
                      <a:lvl1pPr marL="0" algn="l" defTabSz="456888" rtl="0" eaLnBrk="1" latinLnBrk="0" hangingPunct="1">
                        <a:defRPr sz="1800" kern="1200">
                          <a:solidFill>
                            <a:schemeClr val="tx1"/>
                          </a:solidFill>
                          <a:latin typeface="Arial"/>
                          <a:ea typeface=""/>
                          <a:cs typeface=""/>
                        </a:defRPr>
                      </a:lvl1pPr>
                      <a:lvl2pPr marL="456888" algn="l" defTabSz="456888" rtl="0" eaLnBrk="1" latinLnBrk="0" hangingPunct="1">
                        <a:defRPr sz="1800" kern="1200">
                          <a:solidFill>
                            <a:schemeClr val="tx1"/>
                          </a:solidFill>
                          <a:latin typeface="Arial"/>
                          <a:ea typeface=""/>
                          <a:cs typeface=""/>
                        </a:defRPr>
                      </a:lvl2pPr>
                      <a:lvl3pPr marL="913771" algn="l" defTabSz="456888" rtl="0" eaLnBrk="1" latinLnBrk="0" hangingPunct="1">
                        <a:defRPr sz="1800" kern="1200">
                          <a:solidFill>
                            <a:schemeClr val="tx1"/>
                          </a:solidFill>
                          <a:latin typeface="Arial"/>
                          <a:ea typeface=""/>
                          <a:cs typeface=""/>
                        </a:defRPr>
                      </a:lvl3pPr>
                      <a:lvl4pPr marL="1370660" algn="l" defTabSz="456888" rtl="0" eaLnBrk="1" latinLnBrk="0" hangingPunct="1">
                        <a:defRPr sz="1800" kern="1200">
                          <a:solidFill>
                            <a:schemeClr val="tx1"/>
                          </a:solidFill>
                          <a:latin typeface="Arial"/>
                          <a:ea typeface=""/>
                          <a:cs typeface=""/>
                        </a:defRPr>
                      </a:lvl4pPr>
                      <a:lvl5pPr marL="1827543" algn="l" defTabSz="456888" rtl="0" eaLnBrk="1" latinLnBrk="0" hangingPunct="1">
                        <a:defRPr sz="1800" kern="1200">
                          <a:solidFill>
                            <a:schemeClr val="tx1"/>
                          </a:solidFill>
                          <a:latin typeface="Arial"/>
                          <a:ea typeface=""/>
                          <a:cs typeface=""/>
                        </a:defRPr>
                      </a:lvl5pPr>
                      <a:lvl6pPr marL="2284430" algn="l" defTabSz="456888" rtl="0" eaLnBrk="1" latinLnBrk="0" hangingPunct="1">
                        <a:defRPr sz="1800" kern="1200">
                          <a:solidFill>
                            <a:schemeClr val="tx1"/>
                          </a:solidFill>
                          <a:latin typeface="Arial"/>
                          <a:ea typeface=""/>
                          <a:cs typeface=""/>
                        </a:defRPr>
                      </a:lvl6pPr>
                      <a:lvl7pPr marL="2741316" algn="l" defTabSz="456888" rtl="0" eaLnBrk="1" latinLnBrk="0" hangingPunct="1">
                        <a:defRPr sz="1800" kern="1200">
                          <a:solidFill>
                            <a:schemeClr val="tx1"/>
                          </a:solidFill>
                          <a:latin typeface="Arial"/>
                          <a:ea typeface=""/>
                          <a:cs typeface=""/>
                        </a:defRPr>
                      </a:lvl7pPr>
                      <a:lvl8pPr marL="3198202" algn="l" defTabSz="456888" rtl="0" eaLnBrk="1" latinLnBrk="0" hangingPunct="1">
                        <a:defRPr sz="1800" kern="1200">
                          <a:solidFill>
                            <a:schemeClr val="tx1"/>
                          </a:solidFill>
                          <a:latin typeface="Arial"/>
                          <a:ea typeface=""/>
                          <a:cs typeface=""/>
                        </a:defRPr>
                      </a:lvl8pPr>
                      <a:lvl9pPr marL="3655090" algn="l" defTabSz="456888" rtl="0" eaLnBrk="1" latinLnBrk="0" hangingPunct="1">
                        <a:defRPr sz="1800" kern="1200">
                          <a:solidFill>
                            <a:schemeClr val="tx1"/>
                          </a:solidFill>
                          <a:latin typeface="Arial"/>
                          <a:ea typeface=""/>
                          <a:cs typeface=""/>
                        </a:defRPr>
                      </a:lvl9pPr>
                    </a:lstStyle>
                    <a:p>
                      <a:pPr marL="0" algn="l" defTabSz="914400" rtl="0" eaLnBrk="1" latinLnBrk="0" hangingPunct="1"/>
                      <a:r>
                        <a:rPr lang="en-US" sz="1100" b="1" kern="1200" noProof="0" dirty="0">
                          <a:solidFill>
                            <a:schemeClr val="lt1"/>
                          </a:solidFill>
                          <a:latin typeface="Calibri"/>
                          <a:ea typeface=""/>
                          <a:cs typeface=""/>
                        </a:rPr>
                        <a:t>Date</a:t>
                      </a:r>
                    </a:p>
                  </a:txBody>
                  <a:tcPr marT="45707" marB="45707">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064A2"/>
                    </a:solidFill>
                  </a:tcPr>
                </a:tc>
                <a:tc>
                  <a:txBody>
                    <a:bodyPr/>
                    <a:lstStyle>
                      <a:lvl1pPr marL="0" algn="l" defTabSz="456888" rtl="0" eaLnBrk="1" latinLnBrk="0" hangingPunct="1">
                        <a:defRPr sz="1800" kern="1200">
                          <a:solidFill>
                            <a:schemeClr val="tx1"/>
                          </a:solidFill>
                          <a:latin typeface="Arial"/>
                          <a:ea typeface=""/>
                          <a:cs typeface=""/>
                        </a:defRPr>
                      </a:lvl1pPr>
                      <a:lvl2pPr marL="456888" algn="l" defTabSz="456888" rtl="0" eaLnBrk="1" latinLnBrk="0" hangingPunct="1">
                        <a:defRPr sz="1800" kern="1200">
                          <a:solidFill>
                            <a:schemeClr val="tx1"/>
                          </a:solidFill>
                          <a:latin typeface="Arial"/>
                          <a:ea typeface=""/>
                          <a:cs typeface=""/>
                        </a:defRPr>
                      </a:lvl2pPr>
                      <a:lvl3pPr marL="913771" algn="l" defTabSz="456888" rtl="0" eaLnBrk="1" latinLnBrk="0" hangingPunct="1">
                        <a:defRPr sz="1800" kern="1200">
                          <a:solidFill>
                            <a:schemeClr val="tx1"/>
                          </a:solidFill>
                          <a:latin typeface="Arial"/>
                          <a:ea typeface=""/>
                          <a:cs typeface=""/>
                        </a:defRPr>
                      </a:lvl3pPr>
                      <a:lvl4pPr marL="1370660" algn="l" defTabSz="456888" rtl="0" eaLnBrk="1" latinLnBrk="0" hangingPunct="1">
                        <a:defRPr sz="1800" kern="1200">
                          <a:solidFill>
                            <a:schemeClr val="tx1"/>
                          </a:solidFill>
                          <a:latin typeface="Arial"/>
                          <a:ea typeface=""/>
                          <a:cs typeface=""/>
                        </a:defRPr>
                      </a:lvl4pPr>
                      <a:lvl5pPr marL="1827543" algn="l" defTabSz="456888" rtl="0" eaLnBrk="1" latinLnBrk="0" hangingPunct="1">
                        <a:defRPr sz="1800" kern="1200">
                          <a:solidFill>
                            <a:schemeClr val="tx1"/>
                          </a:solidFill>
                          <a:latin typeface="Arial"/>
                          <a:ea typeface=""/>
                          <a:cs typeface=""/>
                        </a:defRPr>
                      </a:lvl5pPr>
                      <a:lvl6pPr marL="2284430" algn="l" defTabSz="456888" rtl="0" eaLnBrk="1" latinLnBrk="0" hangingPunct="1">
                        <a:defRPr sz="1800" kern="1200">
                          <a:solidFill>
                            <a:schemeClr val="tx1"/>
                          </a:solidFill>
                          <a:latin typeface="Arial"/>
                          <a:ea typeface=""/>
                          <a:cs typeface=""/>
                        </a:defRPr>
                      </a:lvl6pPr>
                      <a:lvl7pPr marL="2741316" algn="l" defTabSz="456888" rtl="0" eaLnBrk="1" latinLnBrk="0" hangingPunct="1">
                        <a:defRPr sz="1800" kern="1200">
                          <a:solidFill>
                            <a:schemeClr val="tx1"/>
                          </a:solidFill>
                          <a:latin typeface="Arial"/>
                          <a:ea typeface=""/>
                          <a:cs typeface=""/>
                        </a:defRPr>
                      </a:lvl7pPr>
                      <a:lvl8pPr marL="3198202" algn="l" defTabSz="456888" rtl="0" eaLnBrk="1" latinLnBrk="0" hangingPunct="1">
                        <a:defRPr sz="1800" kern="1200">
                          <a:solidFill>
                            <a:schemeClr val="tx1"/>
                          </a:solidFill>
                          <a:latin typeface="Arial"/>
                          <a:ea typeface=""/>
                          <a:cs typeface=""/>
                        </a:defRPr>
                      </a:lvl8pPr>
                      <a:lvl9pPr marL="3655090" algn="l" defTabSz="456888" rtl="0" eaLnBrk="1" latinLnBrk="0" hangingPunct="1">
                        <a:defRPr sz="1800" kern="1200">
                          <a:solidFill>
                            <a:schemeClr val="tx1"/>
                          </a:solidFill>
                          <a:latin typeface="Arial"/>
                          <a:ea typeface=""/>
                          <a:cs typeface=""/>
                        </a:defRPr>
                      </a:lvl9pPr>
                    </a:lstStyle>
                    <a:p>
                      <a:pPr marL="0" algn="l" defTabSz="914400" rtl="0" eaLnBrk="1" latinLnBrk="0" hangingPunct="1"/>
                      <a:r>
                        <a:rPr lang="en-US" sz="1100" b="1" kern="1200" noProof="0" dirty="0">
                          <a:solidFill>
                            <a:schemeClr val="lt1"/>
                          </a:solidFill>
                          <a:latin typeface="Calibri"/>
                          <a:ea typeface=""/>
                          <a:cs typeface=""/>
                        </a:rPr>
                        <a:t>Revised by</a:t>
                      </a:r>
                    </a:p>
                  </a:txBody>
                  <a:tcPr marT="45707" marB="45707">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064A2"/>
                    </a:solidFill>
                  </a:tcPr>
                </a:tc>
                <a:tc>
                  <a:txBody>
                    <a:bodyPr/>
                    <a:lstStyle>
                      <a:lvl1pPr marL="0" algn="l" defTabSz="456888" rtl="0" eaLnBrk="1" latinLnBrk="0" hangingPunct="1">
                        <a:defRPr sz="1800" kern="1200">
                          <a:solidFill>
                            <a:schemeClr val="tx1"/>
                          </a:solidFill>
                          <a:latin typeface="Arial"/>
                          <a:ea typeface=""/>
                          <a:cs typeface=""/>
                        </a:defRPr>
                      </a:lvl1pPr>
                      <a:lvl2pPr marL="456888" algn="l" defTabSz="456888" rtl="0" eaLnBrk="1" latinLnBrk="0" hangingPunct="1">
                        <a:defRPr sz="1800" kern="1200">
                          <a:solidFill>
                            <a:schemeClr val="tx1"/>
                          </a:solidFill>
                          <a:latin typeface="Arial"/>
                          <a:ea typeface=""/>
                          <a:cs typeface=""/>
                        </a:defRPr>
                      </a:lvl2pPr>
                      <a:lvl3pPr marL="913771" algn="l" defTabSz="456888" rtl="0" eaLnBrk="1" latinLnBrk="0" hangingPunct="1">
                        <a:defRPr sz="1800" kern="1200">
                          <a:solidFill>
                            <a:schemeClr val="tx1"/>
                          </a:solidFill>
                          <a:latin typeface="Arial"/>
                          <a:ea typeface=""/>
                          <a:cs typeface=""/>
                        </a:defRPr>
                      </a:lvl3pPr>
                      <a:lvl4pPr marL="1370660" algn="l" defTabSz="456888" rtl="0" eaLnBrk="1" latinLnBrk="0" hangingPunct="1">
                        <a:defRPr sz="1800" kern="1200">
                          <a:solidFill>
                            <a:schemeClr val="tx1"/>
                          </a:solidFill>
                          <a:latin typeface="Arial"/>
                          <a:ea typeface=""/>
                          <a:cs typeface=""/>
                        </a:defRPr>
                      </a:lvl4pPr>
                      <a:lvl5pPr marL="1827543" algn="l" defTabSz="456888" rtl="0" eaLnBrk="1" latinLnBrk="0" hangingPunct="1">
                        <a:defRPr sz="1800" kern="1200">
                          <a:solidFill>
                            <a:schemeClr val="tx1"/>
                          </a:solidFill>
                          <a:latin typeface="Arial"/>
                          <a:ea typeface=""/>
                          <a:cs typeface=""/>
                        </a:defRPr>
                      </a:lvl5pPr>
                      <a:lvl6pPr marL="2284430" algn="l" defTabSz="456888" rtl="0" eaLnBrk="1" latinLnBrk="0" hangingPunct="1">
                        <a:defRPr sz="1800" kern="1200">
                          <a:solidFill>
                            <a:schemeClr val="tx1"/>
                          </a:solidFill>
                          <a:latin typeface="Arial"/>
                          <a:ea typeface=""/>
                          <a:cs typeface=""/>
                        </a:defRPr>
                      </a:lvl6pPr>
                      <a:lvl7pPr marL="2741316" algn="l" defTabSz="456888" rtl="0" eaLnBrk="1" latinLnBrk="0" hangingPunct="1">
                        <a:defRPr sz="1800" kern="1200">
                          <a:solidFill>
                            <a:schemeClr val="tx1"/>
                          </a:solidFill>
                          <a:latin typeface="Arial"/>
                          <a:ea typeface=""/>
                          <a:cs typeface=""/>
                        </a:defRPr>
                      </a:lvl7pPr>
                      <a:lvl8pPr marL="3198202" algn="l" defTabSz="456888" rtl="0" eaLnBrk="1" latinLnBrk="0" hangingPunct="1">
                        <a:defRPr sz="1800" kern="1200">
                          <a:solidFill>
                            <a:schemeClr val="tx1"/>
                          </a:solidFill>
                          <a:latin typeface="Arial"/>
                          <a:ea typeface=""/>
                          <a:cs typeface=""/>
                        </a:defRPr>
                      </a:lvl8pPr>
                      <a:lvl9pPr marL="3655090" algn="l" defTabSz="456888"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kern="1200" noProof="0" dirty="0">
                          <a:solidFill>
                            <a:schemeClr val="lt1"/>
                          </a:solidFill>
                          <a:latin typeface="Calibri"/>
                          <a:ea typeface=""/>
                          <a:cs typeface=""/>
                        </a:rPr>
                        <a:t>Change Summary</a:t>
                      </a:r>
                    </a:p>
                  </a:txBody>
                  <a:tcPr marT="45707" marB="45707">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064A2"/>
                    </a:solidFill>
                  </a:tcPr>
                </a:tc>
                <a:tc>
                  <a:txBody>
                    <a:bodyPr/>
                    <a:lstStyle>
                      <a:lvl1pPr marL="0" algn="l" defTabSz="456888" rtl="0" eaLnBrk="1" latinLnBrk="0" hangingPunct="1">
                        <a:defRPr sz="1800" kern="1200">
                          <a:solidFill>
                            <a:schemeClr val="tx1"/>
                          </a:solidFill>
                          <a:latin typeface="Arial"/>
                          <a:ea typeface=""/>
                          <a:cs typeface=""/>
                        </a:defRPr>
                      </a:lvl1pPr>
                      <a:lvl2pPr marL="456888" algn="l" defTabSz="456888" rtl="0" eaLnBrk="1" latinLnBrk="0" hangingPunct="1">
                        <a:defRPr sz="1800" kern="1200">
                          <a:solidFill>
                            <a:schemeClr val="tx1"/>
                          </a:solidFill>
                          <a:latin typeface="Arial"/>
                          <a:ea typeface=""/>
                          <a:cs typeface=""/>
                        </a:defRPr>
                      </a:lvl2pPr>
                      <a:lvl3pPr marL="913771" algn="l" defTabSz="456888" rtl="0" eaLnBrk="1" latinLnBrk="0" hangingPunct="1">
                        <a:defRPr sz="1800" kern="1200">
                          <a:solidFill>
                            <a:schemeClr val="tx1"/>
                          </a:solidFill>
                          <a:latin typeface="Arial"/>
                          <a:ea typeface=""/>
                          <a:cs typeface=""/>
                        </a:defRPr>
                      </a:lvl3pPr>
                      <a:lvl4pPr marL="1370660" algn="l" defTabSz="456888" rtl="0" eaLnBrk="1" latinLnBrk="0" hangingPunct="1">
                        <a:defRPr sz="1800" kern="1200">
                          <a:solidFill>
                            <a:schemeClr val="tx1"/>
                          </a:solidFill>
                          <a:latin typeface="Arial"/>
                          <a:ea typeface=""/>
                          <a:cs typeface=""/>
                        </a:defRPr>
                      </a:lvl4pPr>
                      <a:lvl5pPr marL="1827543" algn="l" defTabSz="456888" rtl="0" eaLnBrk="1" latinLnBrk="0" hangingPunct="1">
                        <a:defRPr sz="1800" kern="1200">
                          <a:solidFill>
                            <a:schemeClr val="tx1"/>
                          </a:solidFill>
                          <a:latin typeface="Arial"/>
                          <a:ea typeface=""/>
                          <a:cs typeface=""/>
                        </a:defRPr>
                      </a:lvl5pPr>
                      <a:lvl6pPr marL="2284430" algn="l" defTabSz="456888" rtl="0" eaLnBrk="1" latinLnBrk="0" hangingPunct="1">
                        <a:defRPr sz="1800" kern="1200">
                          <a:solidFill>
                            <a:schemeClr val="tx1"/>
                          </a:solidFill>
                          <a:latin typeface="Arial"/>
                          <a:ea typeface=""/>
                          <a:cs typeface=""/>
                        </a:defRPr>
                      </a:lvl6pPr>
                      <a:lvl7pPr marL="2741316" algn="l" defTabSz="456888" rtl="0" eaLnBrk="1" latinLnBrk="0" hangingPunct="1">
                        <a:defRPr sz="1800" kern="1200">
                          <a:solidFill>
                            <a:schemeClr val="tx1"/>
                          </a:solidFill>
                          <a:latin typeface="Arial"/>
                          <a:ea typeface=""/>
                          <a:cs typeface=""/>
                        </a:defRPr>
                      </a:lvl7pPr>
                      <a:lvl8pPr marL="3198202" algn="l" defTabSz="456888" rtl="0" eaLnBrk="1" latinLnBrk="0" hangingPunct="1">
                        <a:defRPr sz="1800" kern="1200">
                          <a:solidFill>
                            <a:schemeClr val="tx1"/>
                          </a:solidFill>
                          <a:latin typeface="Arial"/>
                          <a:ea typeface=""/>
                          <a:cs typeface=""/>
                        </a:defRPr>
                      </a:lvl8pPr>
                      <a:lvl9pPr marL="3655090" algn="l" defTabSz="456888" rtl="0" eaLnBrk="1" latinLnBrk="0" hangingPunct="1">
                        <a:defRPr sz="1800" kern="1200">
                          <a:solidFill>
                            <a:schemeClr val="tx1"/>
                          </a:solidFill>
                          <a:latin typeface="Arial"/>
                          <a:ea typeface=""/>
                          <a:cs typeface=""/>
                        </a:defRPr>
                      </a:lvl9pPr>
                    </a:lstStyle>
                    <a:p>
                      <a:pPr marL="0" algn="l" defTabSz="914400" rtl="0" eaLnBrk="1" latinLnBrk="0" hangingPunct="1"/>
                      <a:r>
                        <a:rPr lang="en-US" sz="1100" b="1" kern="1200" noProof="0" dirty="0">
                          <a:solidFill>
                            <a:schemeClr val="lt1"/>
                          </a:solidFill>
                          <a:latin typeface="Calibri"/>
                          <a:ea typeface=""/>
                          <a:cs typeface=""/>
                        </a:rPr>
                        <a:t>Approved By</a:t>
                      </a:r>
                    </a:p>
                  </a:txBody>
                  <a:tcPr marT="45707" marB="45707">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064A2"/>
                    </a:solidFill>
                  </a:tcPr>
                </a:tc>
                <a:extLst>
                  <a:ext uri="{0D108BD9-81ED-4DB2-BD59-A6C34878D82A}">
                    <a16:rowId xmlns:a16="http://schemas.microsoft.com/office/drawing/2014/main" val="10000"/>
                  </a:ext>
                </a:extLst>
              </a:tr>
              <a:tr h="345808">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100" noProof="0" dirty="0"/>
                        <a:t>V1.0</a:t>
                      </a:r>
                    </a:p>
                  </a:txBody>
                  <a:tcP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100" noProof="0" dirty="0"/>
                        <a:t>10.02.2022</a:t>
                      </a:r>
                    </a:p>
                  </a:txBody>
                  <a:tcP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100" noProof="0" dirty="0"/>
                        <a:t>Kavitha Golagani</a:t>
                      </a:r>
                    </a:p>
                  </a:txBody>
                  <a:tcP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100" noProof="0" dirty="0"/>
                        <a:t>Draft</a:t>
                      </a:r>
                    </a:p>
                  </a:txBody>
                  <a:tcP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endParaRPr lang="en-US" sz="1100" noProof="0" dirty="0"/>
                    </a:p>
                  </a:txBody>
                  <a:tcP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extLst>
                  <a:ext uri="{0D108BD9-81ED-4DB2-BD59-A6C34878D82A}">
                    <a16:rowId xmlns:a16="http://schemas.microsoft.com/office/drawing/2014/main" val="10001"/>
                  </a:ext>
                </a:extLst>
              </a:tr>
              <a:tr h="317617">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endParaRPr lang="en-US" sz="1100" noProof="0" dirty="0"/>
                    </a:p>
                  </a:txBody>
                  <a:tcP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endParaRPr lang="en-US" sz="1100" noProof="0" dirty="0"/>
                    </a:p>
                  </a:txBody>
                  <a:tcP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endParaRPr lang="en-US" sz="1100" noProof="0" dirty="0"/>
                    </a:p>
                  </a:txBody>
                  <a:tcP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endParaRPr lang="en-US" sz="1100" noProof="0" dirty="0"/>
                    </a:p>
                  </a:txBody>
                  <a:tcP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endParaRPr lang="en-US" sz="1100" noProof="0" dirty="0"/>
                    </a:p>
                  </a:txBody>
                  <a:tcP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317617">
                <a:tc>
                  <a:txBody>
                    <a:bodyPr/>
                    <a:lstStyle/>
                    <a:p>
                      <a:endParaRPr lang="en-US" sz="1100" noProof="0" dirty="0"/>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8D3E0"/>
                    </a:solidFill>
                  </a:tcPr>
                </a:tc>
                <a:tc>
                  <a:txBody>
                    <a:bodyPr/>
                    <a:lstStyle/>
                    <a:p>
                      <a:endParaRPr lang="en-US" sz="1100" noProof="0" dirty="0"/>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8D3E0"/>
                    </a:solidFill>
                  </a:tcPr>
                </a:tc>
                <a:tc>
                  <a:txBody>
                    <a:bodyPr/>
                    <a:lstStyle/>
                    <a:p>
                      <a:endParaRPr lang="en-US" sz="1100" noProof="0" dirty="0"/>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8D3E0"/>
                    </a:solidFill>
                  </a:tcPr>
                </a:tc>
                <a:tc>
                  <a:txBody>
                    <a:bodyPr/>
                    <a:lstStyle/>
                    <a:p>
                      <a:endParaRPr lang="en-US" sz="1100" noProof="0" dirty="0"/>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8D3E0"/>
                    </a:solidFill>
                  </a:tcPr>
                </a:tc>
                <a:tc>
                  <a:txBody>
                    <a:bodyPr/>
                    <a:lstStyle/>
                    <a:p>
                      <a:endParaRPr lang="en-US" sz="1100" noProof="0" dirty="0"/>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8D3E0"/>
                    </a:solidFill>
                  </a:tcPr>
                </a:tc>
                <a:extLst>
                  <a:ext uri="{0D108BD9-81ED-4DB2-BD59-A6C34878D82A}">
                    <a16:rowId xmlns:a16="http://schemas.microsoft.com/office/drawing/2014/main" val="10003"/>
                  </a:ext>
                </a:extLst>
              </a:tr>
              <a:tr h="317617">
                <a:tc>
                  <a:txBody>
                    <a:bodyPr/>
                    <a:lstStyle/>
                    <a:p>
                      <a:endParaRPr lang="en-US" sz="1100" noProof="0" dirty="0"/>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p>
                      <a:endParaRPr lang="en-US" sz="1100" noProof="0" dirty="0"/>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p>
                      <a:endParaRPr lang="en-US" sz="1100" noProof="0" dirty="0"/>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p>
                      <a:endParaRPr lang="en-US" sz="1100" noProof="0" dirty="0"/>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p>
                      <a:endParaRPr lang="en-US" sz="1100" noProof="0" dirty="0"/>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6834355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Grp="1" noChangeArrowheads="1"/>
          </p:cNvSpPr>
          <p:nvPr>
            <p:ph type="title"/>
          </p:nvPr>
        </p:nvSpPr>
        <p:spPr>
          <a:xfrm>
            <a:off x="731520" y="182880"/>
            <a:ext cx="8720504" cy="697832"/>
          </a:xfrm>
        </p:spPr>
        <p:txBody>
          <a:bodyPr vert="horz" lIns="87248" tIns="43624" rIns="87248" bIns="43624" rtlCol="0" anchor="ctr">
            <a:normAutofit/>
          </a:bodyPr>
          <a:lstStyle/>
          <a:p>
            <a:pPr algn="l" eaLnBrk="1" hangingPunct="1"/>
            <a:r>
              <a:rPr lang="tr-TR" dirty="0"/>
              <a:t>10</a:t>
            </a:r>
            <a:r>
              <a:rPr lang="en-US" dirty="0"/>
              <a:t>. Major Risk/issue &amp; Mitigation Plans</a:t>
            </a:r>
          </a:p>
        </p:txBody>
      </p:sp>
      <p:grpSp>
        <p:nvGrpSpPr>
          <p:cNvPr id="14" name="Group 13"/>
          <p:cNvGrpSpPr/>
          <p:nvPr/>
        </p:nvGrpSpPr>
        <p:grpSpPr>
          <a:xfrm>
            <a:off x="731520" y="1097280"/>
            <a:ext cx="10698480" cy="1722121"/>
            <a:chOff x="400050" y="902368"/>
            <a:chExt cx="4171950" cy="1466101"/>
          </a:xfrm>
        </p:grpSpPr>
        <p:sp>
          <p:nvSpPr>
            <p:cNvPr id="15" name="Rectangle 14"/>
            <p:cNvSpPr/>
            <p:nvPr/>
          </p:nvSpPr>
          <p:spPr>
            <a:xfrm>
              <a:off x="400050" y="1257300"/>
              <a:ext cx="4171950" cy="1111169"/>
            </a:xfrm>
            <a:prstGeom prst="rect">
              <a:avLst/>
            </a:prstGeom>
            <a:solidFill>
              <a:sysClr val="window" lastClr="FFFFFF"/>
            </a:solidFill>
            <a:ln w="25400" cap="flat" cmpd="sng" algn="ctr">
              <a:solidFill>
                <a:srgbClr val="8064A2"/>
              </a:solidFill>
              <a:prstDash val="solid"/>
            </a:ln>
            <a:effectLst/>
          </p:spPr>
          <p:txBody>
            <a:bodyPr rtlCol="0" anchor="ctr"/>
            <a:lstStyle/>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kern="0" dirty="0">
                <a:solidFill>
                  <a:sysClr val="windowText" lastClr="000000"/>
                </a:solidFill>
                <a:latin typeface="Calibri"/>
              </a:endParaRPr>
            </a:p>
            <a:p>
              <a:pPr marL="285750" indent="-285750">
                <a:buFont typeface="Arial" pitchFamily="34" charset="0"/>
                <a:buChar char="•"/>
                <a:defRPr/>
              </a:pPr>
              <a:endParaRPr lang="en-US" kern="0" dirty="0">
                <a:solidFill>
                  <a:sysClr val="windowText" lastClr="000000"/>
                </a:solidFill>
                <a:latin typeface="Calibri"/>
              </a:endParaRPr>
            </a:p>
            <a:p>
              <a:pPr marL="285750" indent="-285750">
                <a:buFont typeface="Arial" pitchFamily="34" charset="0"/>
                <a:buChar char="•"/>
                <a:defRPr/>
              </a:pPr>
              <a:endParaRPr lang="en-US" kern="0" dirty="0">
                <a:solidFill>
                  <a:sysClr val="windowText" lastClr="000000"/>
                </a:solidFill>
                <a:latin typeface="Calibri"/>
              </a:endParaRPr>
            </a:p>
            <a:p>
              <a:pPr marL="285750" indent="-285750">
                <a:buFont typeface="Arial" pitchFamily="34" charset="0"/>
                <a:buChar char="•"/>
                <a:defRPr/>
              </a:pPr>
              <a:endParaRPr lang="en-US" kern="0" dirty="0">
                <a:solidFill>
                  <a:sysClr val="windowText" lastClr="000000"/>
                </a:solidFill>
                <a:latin typeface="Calibri"/>
              </a:endParaRPr>
            </a:p>
          </p:txBody>
        </p:sp>
        <p:sp>
          <p:nvSpPr>
            <p:cNvPr id="16" name="Rectangle 15"/>
            <p:cNvSpPr/>
            <p:nvPr/>
          </p:nvSpPr>
          <p:spPr>
            <a:xfrm>
              <a:off x="400050" y="902368"/>
              <a:ext cx="4171950" cy="354931"/>
            </a:xfrm>
            <a:prstGeom prst="rect">
              <a:avLst/>
            </a:prstGeom>
            <a:gradFill rotWithShape="1">
              <a:gsLst>
                <a:gs pos="0">
                  <a:srgbClr val="8064A2">
                    <a:tint val="100000"/>
                    <a:shade val="100000"/>
                    <a:satMod val="130000"/>
                  </a:srgbClr>
                </a:gs>
                <a:gs pos="100000">
                  <a:srgbClr val="8064A2">
                    <a:tint val="50000"/>
                    <a:shade val="100000"/>
                    <a:satMod val="350000"/>
                  </a:srgbClr>
                </a:gs>
              </a:gsLst>
              <a:lin ang="16200000" scaled="0"/>
            </a:gradFill>
            <a:ln w="9525" cap="flat" cmpd="sng" algn="ctr">
              <a:solidFill>
                <a:srgbClr val="8064A2">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a:defRPr/>
              </a:pPr>
              <a:r>
                <a:rPr lang="en-US" kern="0" dirty="0">
                  <a:solidFill>
                    <a:sysClr val="window" lastClr="FFFFFF"/>
                  </a:solidFill>
                  <a:latin typeface="Calibri"/>
                </a:rPr>
                <a:t>Risk/Issue’s Mitigation Plans</a:t>
              </a:r>
            </a:p>
          </p:txBody>
        </p:sp>
        <p:sp>
          <p:nvSpPr>
            <p:cNvPr id="17" name="TextBox 16"/>
            <p:cNvSpPr txBox="1"/>
            <p:nvPr/>
          </p:nvSpPr>
          <p:spPr>
            <a:xfrm>
              <a:off x="400050" y="1303248"/>
              <a:ext cx="4171950" cy="243679"/>
            </a:xfrm>
            <a:prstGeom prst="rect">
              <a:avLst/>
            </a:prstGeom>
            <a:noFill/>
          </p:spPr>
          <p:txBody>
            <a:bodyPr wrap="square" rtlCol="0">
              <a:spAutoFit/>
            </a:bodyPr>
            <a:lstStyle>
              <a:defPPr>
                <a:defRPr lang="en-US"/>
              </a:defPPr>
              <a:lvl1pPr marL="285750" indent="-285750">
                <a:lnSpc>
                  <a:spcPct val="90000"/>
                </a:lnSpc>
                <a:buFont typeface="Arial" pitchFamily="34" charset="0"/>
                <a:buChar char="•"/>
                <a:defRPr sz="1400">
                  <a:solidFill>
                    <a:schemeClr val="accent4">
                      <a:lumMod val="50000"/>
                    </a:schemeClr>
                  </a:solidFill>
                  <a:cs typeface="Arial" pitchFamily="34" charset="0"/>
                </a:defRPr>
              </a:lvl1pPr>
              <a:lvl2pPr lvl="1">
                <a:defRPr sz="1400"/>
              </a:lvl2pPr>
            </a:lstStyle>
            <a:p>
              <a:pPr marL="0" indent="0">
                <a:buNone/>
                <a:defRPr/>
              </a:pPr>
              <a:endParaRPr lang="en-US" kern="0" dirty="0">
                <a:solidFill>
                  <a:srgbClr val="8064A2">
                    <a:lumMod val="50000"/>
                  </a:srgbClr>
                </a:solidFill>
              </a:endParaRPr>
            </a:p>
          </p:txBody>
        </p:sp>
      </p:grpSp>
      <p:sp>
        <p:nvSpPr>
          <p:cNvPr id="2" name="Slide Number Placeholder 1"/>
          <p:cNvSpPr>
            <a:spLocks noGrp="1"/>
          </p:cNvSpPr>
          <p:nvPr>
            <p:ph type="sldNum" sz="quarter" idx="10"/>
          </p:nvPr>
        </p:nvSpPr>
        <p:spPr/>
        <p:txBody>
          <a:bodyPr/>
          <a:lstStyle/>
          <a:p>
            <a:pPr defTabSz="455621" fontAlgn="base">
              <a:spcBef>
                <a:spcPct val="0"/>
              </a:spcBef>
              <a:spcAft>
                <a:spcPct val="0"/>
              </a:spcAft>
              <a:defRPr/>
            </a:pPr>
            <a:fld id="{5276565E-5A9B-4B05-83C2-0CC7C2C924A0}" type="slidenum">
              <a:rPr lang="en-US" smtClean="0">
                <a:solidFill>
                  <a:prstClr val="black"/>
                </a:solidFill>
                <a:ea typeface="ＭＳ Ｐゴシック" pitchFamily="34" charset="-128"/>
              </a:rPr>
              <a:pPr defTabSz="455621" fontAlgn="base">
                <a:spcBef>
                  <a:spcPct val="0"/>
                </a:spcBef>
                <a:spcAft>
                  <a:spcPct val="0"/>
                </a:spcAft>
                <a:defRPr/>
              </a:pPr>
              <a:t>10</a:t>
            </a:fld>
            <a:endParaRPr lang="en-US" dirty="0">
              <a:solidFill>
                <a:prstClr val="black"/>
              </a:solidFill>
              <a:ea typeface="ＭＳ Ｐゴシック" pitchFamily="34" charset="-128"/>
            </a:endParaRPr>
          </a:p>
        </p:txBody>
      </p:sp>
    </p:spTree>
    <p:extLst>
      <p:ext uri="{BB962C8B-B14F-4D97-AF65-F5344CB8AC3E}">
        <p14:creationId xmlns:p14="http://schemas.microsoft.com/office/powerpoint/2010/main" val="39426305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p:cNvGrpSpPr/>
          <p:nvPr/>
        </p:nvGrpSpPr>
        <p:grpSpPr>
          <a:xfrm>
            <a:off x="687122" y="1105632"/>
            <a:ext cx="11200077" cy="2670804"/>
            <a:chOff x="400050" y="902368"/>
            <a:chExt cx="4171950" cy="644559"/>
          </a:xfrm>
        </p:grpSpPr>
        <p:sp>
          <p:nvSpPr>
            <p:cNvPr id="43" name="Rectangle 42"/>
            <p:cNvSpPr/>
            <p:nvPr/>
          </p:nvSpPr>
          <p:spPr>
            <a:xfrm>
              <a:off x="400050" y="902368"/>
              <a:ext cx="4171950" cy="178628"/>
            </a:xfrm>
            <a:prstGeom prst="rect">
              <a:avLst/>
            </a:prstGeom>
            <a:gradFill rotWithShape="1">
              <a:gsLst>
                <a:gs pos="0">
                  <a:srgbClr val="8064A2">
                    <a:tint val="100000"/>
                    <a:shade val="100000"/>
                    <a:satMod val="130000"/>
                  </a:srgbClr>
                </a:gs>
                <a:gs pos="100000">
                  <a:srgbClr val="8064A2">
                    <a:tint val="50000"/>
                    <a:shade val="100000"/>
                    <a:satMod val="350000"/>
                  </a:srgbClr>
                </a:gs>
              </a:gsLst>
              <a:lin ang="16200000" scaled="0"/>
            </a:gradFill>
            <a:ln w="9525" cap="flat" cmpd="sng" algn="ctr">
              <a:solidFill>
                <a:srgbClr val="8064A2">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a:defRPr/>
              </a:pPr>
              <a:r>
                <a:rPr lang="en-US" kern="0" dirty="0">
                  <a:solidFill>
                    <a:sysClr val="window" lastClr="FFFFFF"/>
                  </a:solidFill>
                  <a:latin typeface="Calibri"/>
                </a:rPr>
                <a:t>Technology</a:t>
              </a:r>
            </a:p>
          </p:txBody>
        </p:sp>
        <p:sp>
          <p:nvSpPr>
            <p:cNvPr id="44" name="TextBox 43"/>
            <p:cNvSpPr txBox="1"/>
            <p:nvPr/>
          </p:nvSpPr>
          <p:spPr>
            <a:xfrm>
              <a:off x="400050" y="1303248"/>
              <a:ext cx="4171950" cy="243679"/>
            </a:xfrm>
            <a:prstGeom prst="rect">
              <a:avLst/>
            </a:prstGeom>
            <a:noFill/>
          </p:spPr>
          <p:txBody>
            <a:bodyPr wrap="square" rtlCol="0">
              <a:spAutoFit/>
            </a:bodyPr>
            <a:lstStyle>
              <a:defPPr>
                <a:defRPr lang="en-US"/>
              </a:defPPr>
              <a:lvl1pPr marL="285750" indent="-285750">
                <a:lnSpc>
                  <a:spcPct val="90000"/>
                </a:lnSpc>
                <a:buFont typeface="Arial" pitchFamily="34" charset="0"/>
                <a:buChar char="•"/>
                <a:defRPr sz="1400">
                  <a:solidFill>
                    <a:schemeClr val="accent4">
                      <a:lumMod val="50000"/>
                    </a:schemeClr>
                  </a:solidFill>
                  <a:cs typeface="Arial" pitchFamily="34" charset="0"/>
                </a:defRPr>
              </a:lvl1pPr>
              <a:lvl2pPr lvl="1">
                <a:defRPr sz="1400"/>
              </a:lvl2pPr>
            </a:lstStyle>
            <a:p>
              <a:pPr marL="0" indent="0">
                <a:buNone/>
                <a:defRPr/>
              </a:pPr>
              <a:endParaRPr lang="en-US" kern="0" dirty="0">
                <a:solidFill>
                  <a:srgbClr val="8064A2">
                    <a:lumMod val="50000"/>
                  </a:srgbClr>
                </a:solidFill>
              </a:endParaRPr>
            </a:p>
          </p:txBody>
        </p:sp>
      </p:grpSp>
      <p:sp>
        <p:nvSpPr>
          <p:cNvPr id="4" name="Rectangle 3"/>
          <p:cNvSpPr>
            <a:spLocks noGrp="1" noChangeArrowheads="1"/>
          </p:cNvSpPr>
          <p:nvPr>
            <p:ph type="title"/>
          </p:nvPr>
        </p:nvSpPr>
        <p:spPr>
          <a:xfrm>
            <a:off x="731520" y="182880"/>
            <a:ext cx="8720504" cy="697832"/>
          </a:xfrm>
        </p:spPr>
        <p:txBody>
          <a:bodyPr vert="horz" lIns="87248" tIns="43624" rIns="87248" bIns="43624" rtlCol="0" anchor="ctr">
            <a:normAutofit/>
          </a:bodyPr>
          <a:lstStyle/>
          <a:p>
            <a:pPr algn="l" eaLnBrk="1" hangingPunct="1"/>
            <a:r>
              <a:rPr lang="en-US" dirty="0"/>
              <a:t>1</a:t>
            </a:r>
            <a:r>
              <a:rPr lang="tr-TR" dirty="0"/>
              <a:t>1</a:t>
            </a:r>
            <a:r>
              <a:rPr lang="en-US" dirty="0"/>
              <a:t>. Technology</a:t>
            </a:r>
          </a:p>
        </p:txBody>
      </p:sp>
      <p:sp>
        <p:nvSpPr>
          <p:cNvPr id="2" name="Slide Number Placeholder 1"/>
          <p:cNvSpPr>
            <a:spLocks noGrp="1"/>
          </p:cNvSpPr>
          <p:nvPr>
            <p:ph type="sldNum" sz="quarter" idx="10"/>
          </p:nvPr>
        </p:nvSpPr>
        <p:spPr/>
        <p:txBody>
          <a:bodyPr/>
          <a:lstStyle/>
          <a:p>
            <a:pPr defTabSz="455621" fontAlgn="base">
              <a:spcBef>
                <a:spcPct val="0"/>
              </a:spcBef>
              <a:spcAft>
                <a:spcPct val="0"/>
              </a:spcAft>
              <a:defRPr/>
            </a:pPr>
            <a:fld id="{5276565E-5A9B-4B05-83C2-0CC7C2C924A0}" type="slidenum">
              <a:rPr lang="en-US" smtClean="0">
                <a:solidFill>
                  <a:prstClr val="black"/>
                </a:solidFill>
                <a:ea typeface="ＭＳ Ｐゴシック" pitchFamily="34" charset="-128"/>
              </a:rPr>
              <a:pPr defTabSz="455621" fontAlgn="base">
                <a:spcBef>
                  <a:spcPct val="0"/>
                </a:spcBef>
                <a:spcAft>
                  <a:spcPct val="0"/>
                </a:spcAft>
                <a:defRPr/>
              </a:pPr>
              <a:t>11</a:t>
            </a:fld>
            <a:endParaRPr lang="en-US" dirty="0">
              <a:solidFill>
                <a:prstClr val="black"/>
              </a:solidFill>
              <a:ea typeface="ＭＳ Ｐゴシック" pitchFamily="34" charset="-128"/>
            </a:endParaRPr>
          </a:p>
        </p:txBody>
      </p:sp>
    </p:spTree>
    <p:extLst>
      <p:ext uri="{BB962C8B-B14F-4D97-AF65-F5344CB8AC3E}">
        <p14:creationId xmlns:p14="http://schemas.microsoft.com/office/powerpoint/2010/main" val="402094790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p:cNvGrpSpPr/>
          <p:nvPr/>
        </p:nvGrpSpPr>
        <p:grpSpPr>
          <a:xfrm>
            <a:off x="1029361" y="533400"/>
            <a:ext cx="10019639" cy="5638800"/>
            <a:chOff x="400050" y="902368"/>
            <a:chExt cx="4171950" cy="1241131"/>
          </a:xfrm>
        </p:grpSpPr>
        <p:sp>
          <p:nvSpPr>
            <p:cNvPr id="45" name="Rectangle 44"/>
            <p:cNvSpPr/>
            <p:nvPr/>
          </p:nvSpPr>
          <p:spPr>
            <a:xfrm>
              <a:off x="400050" y="902368"/>
              <a:ext cx="4171950" cy="1241131"/>
            </a:xfrm>
            <a:prstGeom prst="rect">
              <a:avLst/>
            </a:prstGeom>
            <a:solidFill>
              <a:sysClr val="window" lastClr="FFFFFF"/>
            </a:solidFill>
            <a:ln w="25400" cap="flat" cmpd="sng" algn="ctr">
              <a:solidFill>
                <a:srgbClr val="8064A2"/>
              </a:solidFill>
              <a:prstDash val="solid"/>
            </a:ln>
            <a:effectLst/>
          </p:spPr>
          <p:txBody>
            <a:bodyPr rtlCol="0" anchor="ctr"/>
            <a:lstStyle/>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kern="0" dirty="0">
                <a:solidFill>
                  <a:sysClr val="windowText" lastClr="000000"/>
                </a:solidFill>
                <a:latin typeface="Calibri"/>
              </a:endParaRPr>
            </a:p>
          </p:txBody>
        </p:sp>
        <p:sp>
          <p:nvSpPr>
            <p:cNvPr id="46" name="Rectangle 45"/>
            <p:cNvSpPr/>
            <p:nvPr/>
          </p:nvSpPr>
          <p:spPr>
            <a:xfrm>
              <a:off x="400050" y="902368"/>
              <a:ext cx="4171950" cy="63980"/>
            </a:xfrm>
            <a:prstGeom prst="rect">
              <a:avLst/>
            </a:prstGeom>
            <a:solidFill>
              <a:srgbClr val="7030A0"/>
            </a:solidFill>
            <a:ln w="9525" cap="flat" cmpd="sng" algn="ctr">
              <a:solidFill>
                <a:srgbClr val="8064A2">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a:defRPr/>
              </a:pPr>
              <a:r>
                <a:rPr lang="en-US" kern="0" dirty="0">
                  <a:solidFill>
                    <a:sysClr val="window" lastClr="FFFFFF"/>
                  </a:solidFill>
                  <a:latin typeface="Calibri"/>
                </a:rPr>
                <a:t>Future Landscape View</a:t>
              </a:r>
            </a:p>
          </p:txBody>
        </p:sp>
        <p:sp>
          <p:nvSpPr>
            <p:cNvPr id="47" name="TextBox 46"/>
            <p:cNvSpPr txBox="1"/>
            <p:nvPr/>
          </p:nvSpPr>
          <p:spPr>
            <a:xfrm>
              <a:off x="400050" y="1303248"/>
              <a:ext cx="4171950" cy="243679"/>
            </a:xfrm>
            <a:prstGeom prst="rect">
              <a:avLst/>
            </a:prstGeom>
            <a:noFill/>
          </p:spPr>
          <p:txBody>
            <a:bodyPr wrap="square" rtlCol="0">
              <a:spAutoFit/>
            </a:bodyPr>
            <a:lstStyle>
              <a:defPPr>
                <a:defRPr lang="en-US"/>
              </a:defPPr>
              <a:lvl1pPr marL="285750" indent="-285750">
                <a:lnSpc>
                  <a:spcPct val="90000"/>
                </a:lnSpc>
                <a:buFont typeface="Arial" pitchFamily="34" charset="0"/>
                <a:buChar char="•"/>
                <a:defRPr sz="1400">
                  <a:solidFill>
                    <a:schemeClr val="accent4">
                      <a:lumMod val="50000"/>
                    </a:schemeClr>
                  </a:solidFill>
                  <a:cs typeface="Arial" pitchFamily="34" charset="0"/>
                </a:defRPr>
              </a:lvl1pPr>
              <a:lvl2pPr lvl="1">
                <a:defRPr sz="1400"/>
              </a:lvl2pPr>
            </a:lstStyle>
            <a:p>
              <a:pPr marL="0" indent="0">
                <a:buNone/>
                <a:defRPr/>
              </a:pPr>
              <a:endParaRPr lang="en-US" kern="0" dirty="0">
                <a:solidFill>
                  <a:srgbClr val="8064A2">
                    <a:lumMod val="50000"/>
                  </a:srgbClr>
                </a:solidFill>
              </a:endParaRPr>
            </a:p>
          </p:txBody>
        </p:sp>
      </p:grpSp>
      <p:sp>
        <p:nvSpPr>
          <p:cNvPr id="4" name="Slide Number Placeholder 3"/>
          <p:cNvSpPr>
            <a:spLocks noGrp="1"/>
          </p:cNvSpPr>
          <p:nvPr>
            <p:ph type="sldNum" sz="quarter" idx="10"/>
          </p:nvPr>
        </p:nvSpPr>
        <p:spPr/>
        <p:txBody>
          <a:bodyPr/>
          <a:lstStyle/>
          <a:p>
            <a:pPr defTabSz="455621" fontAlgn="base">
              <a:spcBef>
                <a:spcPct val="0"/>
              </a:spcBef>
              <a:spcAft>
                <a:spcPct val="0"/>
              </a:spcAft>
              <a:defRPr/>
            </a:pPr>
            <a:fld id="{5276565E-5A9B-4B05-83C2-0CC7C2C924A0}" type="slidenum">
              <a:rPr lang="en-US" smtClean="0">
                <a:solidFill>
                  <a:prstClr val="black"/>
                </a:solidFill>
                <a:ea typeface="ＭＳ Ｐゴシック" pitchFamily="34" charset="-128"/>
              </a:rPr>
              <a:pPr defTabSz="455621" fontAlgn="base">
                <a:spcBef>
                  <a:spcPct val="0"/>
                </a:spcBef>
                <a:spcAft>
                  <a:spcPct val="0"/>
                </a:spcAft>
                <a:defRPr/>
              </a:pPr>
              <a:t>12</a:t>
            </a:fld>
            <a:endParaRPr lang="en-US" dirty="0">
              <a:solidFill>
                <a:prstClr val="black"/>
              </a:solidFill>
              <a:ea typeface="ＭＳ Ｐゴシック" pitchFamily="34" charset="-128"/>
            </a:endParaRPr>
          </a:p>
        </p:txBody>
      </p:sp>
      <p:sp>
        <p:nvSpPr>
          <p:cNvPr id="5" name="Rectangle 3"/>
          <p:cNvSpPr>
            <a:spLocks noGrp="1" noChangeArrowheads="1"/>
          </p:cNvSpPr>
          <p:nvPr>
            <p:ph type="title"/>
          </p:nvPr>
        </p:nvSpPr>
        <p:spPr>
          <a:xfrm>
            <a:off x="-52056" y="-28734"/>
            <a:ext cx="8720504" cy="697832"/>
          </a:xfrm>
        </p:spPr>
        <p:txBody>
          <a:bodyPr vert="horz" lIns="87248" tIns="43624" rIns="87248" bIns="43624" rtlCol="0" anchor="ctr">
            <a:normAutofit/>
          </a:bodyPr>
          <a:lstStyle/>
          <a:p>
            <a:pPr algn="l" eaLnBrk="1" hangingPunct="1"/>
            <a:r>
              <a:rPr lang="en-US" dirty="0"/>
              <a:t>1</a:t>
            </a:r>
            <a:r>
              <a:rPr lang="tr-TR" dirty="0"/>
              <a:t>1</a:t>
            </a:r>
            <a:r>
              <a:rPr lang="en-US" dirty="0"/>
              <a:t>. Technology</a:t>
            </a:r>
          </a:p>
        </p:txBody>
      </p:sp>
    </p:spTree>
    <p:extLst>
      <p:ext uri="{BB962C8B-B14F-4D97-AF65-F5344CB8AC3E}">
        <p14:creationId xmlns:p14="http://schemas.microsoft.com/office/powerpoint/2010/main" val="328252629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3"/>
          <p:cNvSpPr>
            <a:spLocks noGrp="1" noChangeArrowheads="1"/>
          </p:cNvSpPr>
          <p:nvPr>
            <p:ph type="title"/>
          </p:nvPr>
        </p:nvSpPr>
        <p:spPr>
          <a:xfrm>
            <a:off x="731520" y="182880"/>
            <a:ext cx="9261952" cy="697832"/>
          </a:xfrm>
          <a:prstGeom prst="rect">
            <a:avLst/>
          </a:prstGeom>
        </p:spPr>
        <p:txBody>
          <a:bodyPr vert="horz" lIns="87248" tIns="43624" rIns="87248" bIns="43624" rtlCol="0" anchor="ctr">
            <a:normAutofit/>
          </a:bodyPr>
          <a:lstStyle/>
          <a:p>
            <a:pPr defTabSz="914400" fontAlgn="auto">
              <a:spcBef>
                <a:spcPts val="0"/>
              </a:spcBef>
              <a:spcAft>
                <a:spcPts val="0"/>
              </a:spcAft>
              <a:defRPr/>
            </a:pPr>
            <a:r>
              <a:rPr lang="tr-TR" sz="3000" kern="0" dirty="0"/>
              <a:t>7</a:t>
            </a:r>
            <a:r>
              <a:rPr lang="en-US" sz="3000" kern="0" dirty="0"/>
              <a:t>. Change Management Plan &amp; Stakeholder Engagement </a:t>
            </a:r>
          </a:p>
        </p:txBody>
      </p:sp>
      <p:grpSp>
        <p:nvGrpSpPr>
          <p:cNvPr id="12" name="Group 11"/>
          <p:cNvGrpSpPr/>
          <p:nvPr/>
        </p:nvGrpSpPr>
        <p:grpSpPr>
          <a:xfrm>
            <a:off x="865070" y="1097280"/>
            <a:ext cx="10698480" cy="3850975"/>
            <a:chOff x="400050" y="902368"/>
            <a:chExt cx="4171950" cy="3453064"/>
          </a:xfrm>
        </p:grpSpPr>
        <p:sp>
          <p:nvSpPr>
            <p:cNvPr id="13" name="Rectangle 12"/>
            <p:cNvSpPr/>
            <p:nvPr/>
          </p:nvSpPr>
          <p:spPr>
            <a:xfrm>
              <a:off x="400050" y="1257300"/>
              <a:ext cx="4171950" cy="3098132"/>
            </a:xfrm>
            <a:prstGeom prst="rect">
              <a:avLst/>
            </a:prstGeom>
            <a:solidFill>
              <a:sysClr val="window" lastClr="FFFFFF"/>
            </a:solidFill>
            <a:ln w="25400" cap="flat" cmpd="sng" algn="ctr">
              <a:solidFill>
                <a:srgbClr val="8064A2"/>
              </a:solidFill>
              <a:prstDash val="solid"/>
            </a:ln>
            <a:effectLst/>
          </p:spPr>
          <p:txBody>
            <a:bodyPr rtlCol="0" anchor="ctr"/>
            <a:lstStyle/>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kern="0" dirty="0">
                <a:solidFill>
                  <a:sysClr val="windowText" lastClr="000000"/>
                </a:solidFill>
                <a:latin typeface="Calibri"/>
              </a:endParaRPr>
            </a:p>
            <a:p>
              <a:pPr marL="285750" indent="-285750">
                <a:buFont typeface="Arial" pitchFamily="34" charset="0"/>
                <a:buChar char="•"/>
                <a:defRPr/>
              </a:pPr>
              <a:endParaRPr lang="en-US" kern="0" dirty="0">
                <a:solidFill>
                  <a:sysClr val="windowText" lastClr="000000"/>
                </a:solidFill>
                <a:latin typeface="Calibri"/>
              </a:endParaRPr>
            </a:p>
            <a:p>
              <a:pPr>
                <a:defRPr/>
              </a:pPr>
              <a:endParaRPr lang="en-US" kern="0" dirty="0">
                <a:solidFill>
                  <a:sysClr val="windowText" lastClr="000000"/>
                </a:solidFill>
                <a:latin typeface="Calibri"/>
              </a:endParaRPr>
            </a:p>
            <a:p>
              <a:pPr marL="285750" indent="-285750">
                <a:buFont typeface="Arial" pitchFamily="34" charset="0"/>
                <a:buChar char="•"/>
                <a:defRPr/>
              </a:pPr>
              <a:endParaRPr lang="en-US" kern="0" dirty="0">
                <a:solidFill>
                  <a:sysClr val="windowText" lastClr="000000"/>
                </a:solidFill>
                <a:latin typeface="Calibri"/>
              </a:endParaRPr>
            </a:p>
            <a:p>
              <a:pPr marL="285750" indent="-285750">
                <a:buFont typeface="Arial" pitchFamily="34" charset="0"/>
                <a:buChar char="•"/>
                <a:defRPr/>
              </a:pPr>
              <a:endParaRPr lang="en-US" kern="0" dirty="0">
                <a:solidFill>
                  <a:sysClr val="windowText" lastClr="000000"/>
                </a:solidFill>
                <a:latin typeface="Calibri"/>
              </a:endParaRPr>
            </a:p>
            <a:p>
              <a:pPr marL="285750" indent="-285750">
                <a:buFont typeface="Arial" pitchFamily="34" charset="0"/>
                <a:buChar char="•"/>
                <a:defRPr/>
              </a:pPr>
              <a:endParaRPr lang="en-US" kern="0" dirty="0">
                <a:solidFill>
                  <a:sysClr val="windowText" lastClr="000000"/>
                </a:solidFill>
                <a:latin typeface="Calibri"/>
              </a:endParaRPr>
            </a:p>
          </p:txBody>
        </p:sp>
        <p:sp>
          <p:nvSpPr>
            <p:cNvPr id="14" name="Rectangle 13"/>
            <p:cNvSpPr/>
            <p:nvPr/>
          </p:nvSpPr>
          <p:spPr>
            <a:xfrm>
              <a:off x="400050" y="902368"/>
              <a:ext cx="4171950" cy="354931"/>
            </a:xfrm>
            <a:prstGeom prst="rect">
              <a:avLst/>
            </a:prstGeom>
            <a:gradFill rotWithShape="1">
              <a:gsLst>
                <a:gs pos="0">
                  <a:srgbClr val="8064A2">
                    <a:tint val="100000"/>
                    <a:shade val="100000"/>
                    <a:satMod val="130000"/>
                  </a:srgbClr>
                </a:gs>
                <a:gs pos="100000">
                  <a:srgbClr val="8064A2">
                    <a:tint val="50000"/>
                    <a:shade val="100000"/>
                    <a:satMod val="350000"/>
                  </a:srgbClr>
                </a:gs>
              </a:gsLst>
              <a:lin ang="16200000" scaled="0"/>
            </a:gradFill>
            <a:ln w="9525" cap="flat" cmpd="sng" algn="ctr">
              <a:solidFill>
                <a:srgbClr val="8064A2">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a:defRPr/>
              </a:pPr>
              <a:r>
                <a:rPr lang="en-US" kern="0" dirty="0">
                  <a:solidFill>
                    <a:sysClr val="window" lastClr="FFFFFF"/>
                  </a:solidFill>
                  <a:latin typeface="Calibri"/>
                </a:rPr>
                <a:t>Change Management</a:t>
              </a:r>
            </a:p>
          </p:txBody>
        </p:sp>
        <p:sp>
          <p:nvSpPr>
            <p:cNvPr id="15" name="TextBox 14"/>
            <p:cNvSpPr txBox="1"/>
            <p:nvPr/>
          </p:nvSpPr>
          <p:spPr>
            <a:xfrm>
              <a:off x="400050" y="1303248"/>
              <a:ext cx="4171950" cy="331170"/>
            </a:xfrm>
            <a:prstGeom prst="rect">
              <a:avLst/>
            </a:prstGeom>
            <a:noFill/>
          </p:spPr>
          <p:txBody>
            <a:bodyPr wrap="square" rtlCol="0">
              <a:spAutoFit/>
            </a:bodyPr>
            <a:lstStyle/>
            <a:p>
              <a:pPr>
                <a:defRPr/>
              </a:pPr>
              <a:endParaRPr lang="en-US" kern="0" dirty="0">
                <a:solidFill>
                  <a:sysClr val="windowText" lastClr="000000"/>
                </a:solidFill>
              </a:endParaRPr>
            </a:p>
          </p:txBody>
        </p:sp>
      </p:grpSp>
      <p:sp>
        <p:nvSpPr>
          <p:cNvPr id="2" name="Slide Number Placeholder 1"/>
          <p:cNvSpPr>
            <a:spLocks noGrp="1"/>
          </p:cNvSpPr>
          <p:nvPr>
            <p:ph type="sldNum" sz="quarter" idx="10"/>
          </p:nvPr>
        </p:nvSpPr>
        <p:spPr/>
        <p:txBody>
          <a:bodyPr/>
          <a:lstStyle/>
          <a:p>
            <a:pPr defTabSz="455621" fontAlgn="base">
              <a:spcBef>
                <a:spcPct val="0"/>
              </a:spcBef>
              <a:spcAft>
                <a:spcPct val="0"/>
              </a:spcAft>
              <a:defRPr/>
            </a:pPr>
            <a:fld id="{5276565E-5A9B-4B05-83C2-0CC7C2C924A0}" type="slidenum">
              <a:rPr lang="en-US" smtClean="0">
                <a:solidFill>
                  <a:prstClr val="black"/>
                </a:solidFill>
                <a:ea typeface="ＭＳ Ｐゴシック" pitchFamily="34" charset="-128"/>
              </a:rPr>
              <a:pPr defTabSz="455621" fontAlgn="base">
                <a:spcBef>
                  <a:spcPct val="0"/>
                </a:spcBef>
                <a:spcAft>
                  <a:spcPct val="0"/>
                </a:spcAft>
                <a:defRPr/>
              </a:pPr>
              <a:t>13</a:t>
            </a:fld>
            <a:endParaRPr lang="en-US" dirty="0">
              <a:solidFill>
                <a:prstClr val="black"/>
              </a:solidFill>
              <a:ea typeface="ＭＳ Ｐゴシック" pitchFamily="34" charset="-128"/>
            </a:endParaRPr>
          </a:p>
        </p:txBody>
      </p:sp>
      <p:sp>
        <p:nvSpPr>
          <p:cNvPr id="3" name="Rectangle 1"/>
          <p:cNvSpPr>
            <a:spLocks noChangeArrowheads="1"/>
          </p:cNvSpPr>
          <p:nvPr/>
        </p:nvSpPr>
        <p:spPr bwMode="auto">
          <a:xfrm>
            <a:off x="0" y="-756960"/>
            <a:ext cx="1852499" cy="1971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9829" tIns="899829" rIns="899829" bIns="899829"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tr-TR"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endParaRPr kumimoji="0" lang="tr-TR"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11107020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731520" y="1097280"/>
            <a:ext cx="10671900" cy="3855720"/>
            <a:chOff x="400050" y="902368"/>
            <a:chExt cx="4171950" cy="3453064"/>
          </a:xfrm>
        </p:grpSpPr>
        <p:sp>
          <p:nvSpPr>
            <p:cNvPr id="12" name="Rectangle 11"/>
            <p:cNvSpPr/>
            <p:nvPr/>
          </p:nvSpPr>
          <p:spPr>
            <a:xfrm>
              <a:off x="400050" y="1257300"/>
              <a:ext cx="4171950" cy="3098132"/>
            </a:xfrm>
            <a:prstGeom prst="rect">
              <a:avLst/>
            </a:prstGeom>
            <a:solidFill>
              <a:sysClr val="window" lastClr="FFFFFF"/>
            </a:solidFill>
            <a:ln w="25400" cap="flat" cmpd="sng" algn="ctr">
              <a:solidFill>
                <a:srgbClr val="8064A2"/>
              </a:solidFill>
              <a:prstDash val="solid"/>
            </a:ln>
            <a:effectLst/>
          </p:spPr>
          <p:txBody>
            <a:bodyPr rtlCol="0" anchor="ctr"/>
            <a:lstStyle/>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a:defRPr/>
              </a:pPr>
              <a:r>
                <a:rPr lang="en-US" kern="0" dirty="0">
                  <a:solidFill>
                    <a:sysClr val="windowText" lastClr="000000"/>
                  </a:solidFill>
                  <a:latin typeface="Calibri"/>
                </a:rPr>
                <a:t>Financials</a:t>
              </a:r>
            </a:p>
            <a:p>
              <a:pPr marL="285750" indent="-285750">
                <a:buFont typeface="Arial" pitchFamily="34" charset="0"/>
                <a:buChar char="•"/>
                <a:defRPr/>
              </a:pPr>
              <a:r>
                <a:rPr lang="en-US" kern="0" dirty="0">
                  <a:solidFill>
                    <a:sysClr val="windowText" lastClr="000000"/>
                  </a:solidFill>
                  <a:latin typeface="Calibri"/>
                </a:rPr>
                <a:t>Within project budget</a:t>
              </a:r>
            </a:p>
            <a:p>
              <a:pPr>
                <a:defRPr/>
              </a:pPr>
              <a:r>
                <a:rPr lang="en-US" kern="0" dirty="0">
                  <a:solidFill>
                    <a:sysClr val="windowText" lastClr="000000"/>
                  </a:solidFill>
                  <a:latin typeface="Calibri"/>
                </a:rPr>
                <a:t>Timelines</a:t>
              </a:r>
            </a:p>
            <a:p>
              <a:pPr marL="285750" indent="-285750">
                <a:buFont typeface="Arial" pitchFamily="34" charset="0"/>
                <a:buChar char="•"/>
                <a:defRPr/>
              </a:pPr>
              <a:r>
                <a:rPr lang="en-US" kern="0" dirty="0">
                  <a:solidFill>
                    <a:sysClr val="windowText" lastClr="000000"/>
                  </a:solidFill>
                  <a:latin typeface="Calibri"/>
                </a:rPr>
                <a:t>On-time delivery</a:t>
              </a:r>
            </a:p>
            <a:p>
              <a:pPr>
                <a:defRPr/>
              </a:pPr>
              <a:r>
                <a:rPr lang="en-US" kern="0" dirty="0">
                  <a:solidFill>
                    <a:sysClr val="windowText" lastClr="000000"/>
                  </a:solidFill>
                  <a:latin typeface="Calibri"/>
                </a:rPr>
                <a:t>Others</a:t>
              </a:r>
            </a:p>
            <a:p>
              <a:pPr marL="285750" indent="-285750">
                <a:buFont typeface="Arial" pitchFamily="34" charset="0"/>
                <a:buChar char="•"/>
                <a:defRPr/>
              </a:pPr>
              <a:r>
                <a:rPr lang="en-US" kern="0" dirty="0">
                  <a:solidFill>
                    <a:sysClr val="windowText" lastClr="000000"/>
                  </a:solidFill>
                  <a:latin typeface="Calibri"/>
                </a:rPr>
                <a:t>Landscape availability/delivery</a:t>
              </a:r>
            </a:p>
            <a:p>
              <a:pPr marL="285750" indent="-285750">
                <a:buFont typeface="Arial" pitchFamily="34" charset="0"/>
                <a:buChar char="•"/>
                <a:defRPr/>
              </a:pPr>
              <a:r>
                <a:rPr lang="en-US" kern="0" dirty="0">
                  <a:solidFill>
                    <a:sysClr val="windowText" lastClr="000000"/>
                  </a:solidFill>
                  <a:latin typeface="Calibri"/>
                </a:rPr>
                <a:t># of interfaces migrated/harmonized/redesigned – regional reporting and % of planned</a:t>
              </a:r>
              <a:endParaRPr lang="en-US" kern="0" dirty="0">
                <a:solidFill>
                  <a:sysClr val="windowText" lastClr="000000"/>
                </a:solidFill>
              </a:endParaRPr>
            </a:p>
            <a:p>
              <a:pPr marL="285750" indent="-285750">
                <a:buFont typeface="Arial" pitchFamily="34" charset="0"/>
                <a:buChar char="•"/>
                <a:defRPr/>
              </a:pPr>
              <a:r>
                <a:rPr lang="en-US" kern="0" dirty="0">
                  <a:solidFill>
                    <a:sysClr val="windowText" lastClr="000000"/>
                  </a:solidFill>
                </a:rPr>
                <a:t># of defects in T2S – no business disruption (no P2s due to migration)</a:t>
              </a:r>
            </a:p>
            <a:p>
              <a:pPr marL="285750" indent="-285750">
                <a:buFont typeface="Arial" pitchFamily="34" charset="0"/>
                <a:buChar char="•"/>
                <a:defRPr/>
              </a:pPr>
              <a:r>
                <a:rPr lang="en-US" kern="0" dirty="0">
                  <a:solidFill>
                    <a:sysClr val="windowText" lastClr="000000"/>
                  </a:solidFill>
                </a:rPr>
                <a:t>Post-live # of incidents</a:t>
              </a:r>
            </a:p>
            <a:p>
              <a:pPr marL="285750" indent="-285750">
                <a:buFont typeface="Arial" pitchFamily="34" charset="0"/>
                <a:buChar char="•"/>
                <a:defRPr/>
              </a:pPr>
              <a:r>
                <a:rPr lang="en-US" kern="0" dirty="0">
                  <a:solidFill>
                    <a:sysClr val="windowText" lastClr="000000"/>
                  </a:solidFill>
                </a:rPr>
                <a:t>Transition to Global Support Model signed-off by support as planned</a:t>
              </a:r>
              <a:endParaRPr lang="en-US" kern="0" dirty="0">
                <a:solidFill>
                  <a:sysClr val="windowText" lastClr="000000"/>
                </a:solidFill>
                <a:latin typeface="Calibri"/>
              </a:endParaRPr>
            </a:p>
            <a:p>
              <a:pPr marL="285750" indent="-285750">
                <a:buFont typeface="Arial" pitchFamily="34" charset="0"/>
                <a:buChar char="•"/>
                <a:defRPr/>
              </a:pPr>
              <a:endParaRPr lang="en-US" kern="0" dirty="0">
                <a:solidFill>
                  <a:sysClr val="windowText" lastClr="000000"/>
                </a:solidFill>
                <a:latin typeface="Calibri"/>
              </a:endParaRPr>
            </a:p>
            <a:p>
              <a:pPr marL="285750" indent="-285750">
                <a:buFont typeface="Arial" pitchFamily="34" charset="0"/>
                <a:buChar char="•"/>
                <a:defRPr/>
              </a:pPr>
              <a:endParaRPr lang="en-US" kern="0" dirty="0">
                <a:solidFill>
                  <a:sysClr val="windowText" lastClr="000000"/>
                </a:solidFill>
                <a:latin typeface="Calibri"/>
              </a:endParaRPr>
            </a:p>
          </p:txBody>
        </p:sp>
        <p:sp>
          <p:nvSpPr>
            <p:cNvPr id="13" name="Rectangle 12"/>
            <p:cNvSpPr/>
            <p:nvPr/>
          </p:nvSpPr>
          <p:spPr>
            <a:xfrm>
              <a:off x="400050" y="902368"/>
              <a:ext cx="4171950" cy="354931"/>
            </a:xfrm>
            <a:prstGeom prst="rect">
              <a:avLst/>
            </a:prstGeom>
            <a:gradFill rotWithShape="1">
              <a:gsLst>
                <a:gs pos="0">
                  <a:srgbClr val="8064A2">
                    <a:tint val="100000"/>
                    <a:shade val="100000"/>
                    <a:satMod val="130000"/>
                  </a:srgbClr>
                </a:gs>
                <a:gs pos="100000">
                  <a:srgbClr val="8064A2">
                    <a:tint val="50000"/>
                    <a:shade val="100000"/>
                    <a:satMod val="350000"/>
                  </a:srgbClr>
                </a:gs>
              </a:gsLst>
              <a:lin ang="16200000" scaled="0"/>
            </a:gradFill>
            <a:ln w="9525" cap="flat" cmpd="sng" algn="ctr">
              <a:solidFill>
                <a:srgbClr val="8064A2">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a:defRPr/>
              </a:pPr>
              <a:r>
                <a:rPr lang="en-US" kern="0" dirty="0">
                  <a:solidFill>
                    <a:sysClr val="window" lastClr="FFFFFF"/>
                  </a:solidFill>
                  <a:latin typeface="Calibri"/>
                </a:rPr>
                <a:t>Metrics/ Project Performance Indicator(s)</a:t>
              </a:r>
            </a:p>
          </p:txBody>
        </p:sp>
      </p:grpSp>
      <p:sp>
        <p:nvSpPr>
          <p:cNvPr id="15" name="Rectangle 3"/>
          <p:cNvSpPr>
            <a:spLocks noGrp="1" noChangeArrowheads="1"/>
          </p:cNvSpPr>
          <p:nvPr>
            <p:ph type="title"/>
          </p:nvPr>
        </p:nvSpPr>
        <p:spPr>
          <a:xfrm>
            <a:off x="731520" y="182880"/>
            <a:ext cx="8720504" cy="697832"/>
          </a:xfrm>
          <a:prstGeom prst="rect">
            <a:avLst/>
          </a:prstGeom>
        </p:spPr>
        <p:txBody>
          <a:bodyPr vert="horz" lIns="87248" tIns="43624" rIns="87248" bIns="43624" rtlCol="0" anchor="ctr">
            <a:normAutofit/>
          </a:bodyPr>
          <a:lstStyle/>
          <a:p>
            <a:pPr defTabSz="914400" fontAlgn="auto">
              <a:spcBef>
                <a:spcPts val="0"/>
              </a:spcBef>
              <a:spcAft>
                <a:spcPts val="0"/>
              </a:spcAft>
              <a:defRPr/>
            </a:pPr>
            <a:r>
              <a:rPr lang="en-US" kern="0" dirty="0"/>
              <a:t>5. Metrics - DEL</a:t>
            </a:r>
          </a:p>
        </p:txBody>
      </p:sp>
      <p:sp>
        <p:nvSpPr>
          <p:cNvPr id="2" name="Slide Number Placeholder 1"/>
          <p:cNvSpPr>
            <a:spLocks noGrp="1"/>
          </p:cNvSpPr>
          <p:nvPr>
            <p:ph type="sldNum" sz="quarter" idx="10"/>
          </p:nvPr>
        </p:nvSpPr>
        <p:spPr/>
        <p:txBody>
          <a:bodyPr/>
          <a:lstStyle/>
          <a:p>
            <a:pPr defTabSz="455621" fontAlgn="base">
              <a:spcBef>
                <a:spcPct val="0"/>
              </a:spcBef>
              <a:spcAft>
                <a:spcPct val="0"/>
              </a:spcAft>
              <a:defRPr/>
            </a:pPr>
            <a:fld id="{5276565E-5A9B-4B05-83C2-0CC7C2C924A0}" type="slidenum">
              <a:rPr lang="en-US" smtClean="0">
                <a:solidFill>
                  <a:prstClr val="black"/>
                </a:solidFill>
                <a:ea typeface="ＭＳ Ｐゴシック" pitchFamily="34" charset="-128"/>
              </a:rPr>
              <a:pPr defTabSz="455621" fontAlgn="base">
                <a:spcBef>
                  <a:spcPct val="0"/>
                </a:spcBef>
                <a:spcAft>
                  <a:spcPct val="0"/>
                </a:spcAft>
                <a:defRPr/>
              </a:pPr>
              <a:t>14</a:t>
            </a:fld>
            <a:endParaRPr lang="en-US" dirty="0">
              <a:solidFill>
                <a:prstClr val="black"/>
              </a:solidFill>
              <a:ea typeface="ＭＳ Ｐゴシック" pitchFamily="34" charset="-128"/>
            </a:endParaRPr>
          </a:p>
        </p:txBody>
      </p:sp>
    </p:spTree>
    <p:extLst>
      <p:ext uri="{BB962C8B-B14F-4D97-AF65-F5344CB8AC3E}">
        <p14:creationId xmlns:p14="http://schemas.microsoft.com/office/powerpoint/2010/main" val="310182070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1"/>
          <p:cNvSpPr>
            <a:spLocks noGrp="1"/>
          </p:cNvSpPr>
          <p:nvPr>
            <p:ph type="title"/>
          </p:nvPr>
        </p:nvSpPr>
        <p:spPr bwMode="auto">
          <a:xfrm>
            <a:off x="731520" y="365760"/>
            <a:ext cx="10972800" cy="77586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058" tIns="41029" rIns="82058" bIns="41029" numCol="1" rtlCol="0" anchor="ctr" anchorCtr="0" compatLnSpc="1">
            <a:prstTxWarp prst="textNoShape">
              <a:avLst/>
            </a:prstTxWarp>
            <a:normAutofit fontScale="90000"/>
          </a:bodyPr>
          <a:lstStyle/>
          <a:p>
            <a:pPr algn="ctr"/>
            <a:r>
              <a:rPr lang="en-GB" dirty="0">
                <a:solidFill>
                  <a:srgbClr val="7030A0"/>
                </a:solidFill>
                <a:latin typeface="Arial" charset="0"/>
                <a:ea typeface="ＭＳ Ｐゴシック" pitchFamily="34" charset="-128"/>
                <a:cs typeface="Arial" charset="0"/>
              </a:rPr>
              <a:t>Business Process Framework</a:t>
            </a:r>
            <a:br>
              <a:rPr lang="en-GB" dirty="0">
                <a:latin typeface="Arial" charset="0"/>
                <a:ea typeface="ＭＳ Ｐゴシック" pitchFamily="34" charset="-128"/>
                <a:cs typeface="Arial" charset="0"/>
              </a:rPr>
            </a:br>
            <a:r>
              <a:rPr lang="en-US" sz="2200" dirty="0"/>
              <a:t>To achieve Business Process Excellence we need</a:t>
            </a:r>
            <a:br>
              <a:rPr lang="en-US" sz="2200" dirty="0"/>
            </a:br>
            <a:r>
              <a:rPr lang="en-US" sz="2200" dirty="0"/>
              <a:t>to effectively integrate these elements</a:t>
            </a:r>
            <a:endParaRPr lang="en-GB" sz="1800" i="1" dirty="0">
              <a:latin typeface="Arial" charset="0"/>
              <a:ea typeface="ＭＳ Ｐゴシック" pitchFamily="34" charset="-128"/>
              <a:cs typeface="Arial" charset="0"/>
            </a:endParaRPr>
          </a:p>
        </p:txBody>
      </p:sp>
      <p:graphicFrame>
        <p:nvGraphicFramePr>
          <p:cNvPr id="6" name="Table 5"/>
          <p:cNvGraphicFramePr>
            <a:graphicFrameLocks noGrp="1"/>
          </p:cNvGraphicFramePr>
          <p:nvPr>
            <p:extLst>
              <p:ext uri="{D42A27DB-BD31-4B8C-83A1-F6EECF244321}">
                <p14:modId xmlns:p14="http://schemas.microsoft.com/office/powerpoint/2010/main" val="2881347270"/>
              </p:ext>
            </p:extLst>
          </p:nvPr>
        </p:nvGraphicFramePr>
        <p:xfrm>
          <a:off x="2229995" y="1587429"/>
          <a:ext cx="7599805" cy="4439711"/>
        </p:xfrm>
        <a:graphic>
          <a:graphicData uri="http://schemas.openxmlformats.org/drawingml/2006/table">
            <a:tbl>
              <a:tblPr bandRow="1">
                <a:tableStyleId>{5C22544A-7EE6-4342-B048-85BDC9FD1C3A}</a:tableStyleId>
              </a:tblPr>
              <a:tblGrid>
                <a:gridCol w="1380416">
                  <a:extLst>
                    <a:ext uri="{9D8B030D-6E8A-4147-A177-3AD203B41FA5}">
                      <a16:colId xmlns:a16="http://schemas.microsoft.com/office/drawing/2014/main" val="20000"/>
                    </a:ext>
                  </a:extLst>
                </a:gridCol>
                <a:gridCol w="6219389">
                  <a:extLst>
                    <a:ext uri="{9D8B030D-6E8A-4147-A177-3AD203B41FA5}">
                      <a16:colId xmlns:a16="http://schemas.microsoft.com/office/drawing/2014/main" val="20001"/>
                    </a:ext>
                  </a:extLst>
                </a:gridCol>
              </a:tblGrid>
              <a:tr h="403451">
                <a:tc>
                  <a:txBody>
                    <a:bodyPr/>
                    <a:lstStyle/>
                    <a:p>
                      <a:pPr marL="0" algn="l" defTabSz="509412" rtl="0" eaLnBrk="1" latinLnBrk="0" hangingPunct="1"/>
                      <a:r>
                        <a:rPr lang="en-US" sz="1600" b="1" kern="1200" dirty="0">
                          <a:solidFill>
                            <a:schemeClr val="dk1"/>
                          </a:solidFill>
                          <a:latin typeface="Arial" pitchFamily="34" charset="0"/>
                          <a:ea typeface="+mn-ea"/>
                          <a:cs typeface="Arial" pitchFamily="34" charset="0"/>
                        </a:rPr>
                        <a:t>Results</a:t>
                      </a:r>
                      <a:endParaRPr lang="en-US" sz="1600" b="0" kern="1200" dirty="0">
                        <a:solidFill>
                          <a:schemeClr val="dk1"/>
                        </a:solidFill>
                        <a:latin typeface="Arial" pitchFamily="34" charset="0"/>
                        <a:ea typeface="+mn-ea"/>
                        <a:cs typeface="Arial" pitchFamily="34" charset="0"/>
                      </a:endParaRPr>
                    </a:p>
                  </a:txBody>
                  <a:tcPr marL="83140" marR="83140" marT="80697" marB="80706">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509412" rtl="0" eaLnBrk="1" fontAlgn="auto" latinLnBrk="0" hangingPunct="1">
                        <a:lnSpc>
                          <a:spcPct val="100000"/>
                        </a:lnSpc>
                        <a:spcBef>
                          <a:spcPts val="0"/>
                        </a:spcBef>
                        <a:spcAft>
                          <a:spcPts val="0"/>
                        </a:spcAft>
                        <a:buClrTx/>
                        <a:buSzTx/>
                        <a:buFontTx/>
                        <a:buNone/>
                        <a:tabLst/>
                        <a:defRPr/>
                      </a:pPr>
                      <a:r>
                        <a:rPr lang="en-US" sz="1400" b="0" kern="1200" dirty="0">
                          <a:solidFill>
                            <a:schemeClr val="dk1"/>
                          </a:solidFill>
                          <a:latin typeface="Arial" pitchFamily="34" charset="0"/>
                          <a:ea typeface="+mn-ea"/>
                          <a:cs typeface="Arial" pitchFamily="34" charset="0"/>
                        </a:rPr>
                        <a:t>What business results are we targeting, over what period?</a:t>
                      </a:r>
                    </a:p>
                  </a:txBody>
                  <a:tcPr marL="83140" marR="83140" marT="80697" marB="80706">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806862">
                <a:tc>
                  <a:txBody>
                    <a:bodyPr/>
                    <a:lstStyle/>
                    <a:p>
                      <a:pPr marL="0" algn="l" defTabSz="509412" rtl="0" eaLnBrk="1" latinLnBrk="0" hangingPunct="1"/>
                      <a:r>
                        <a:rPr lang="en-US" sz="1600" b="1" kern="1200" dirty="0">
                          <a:solidFill>
                            <a:schemeClr val="dk1"/>
                          </a:solidFill>
                          <a:latin typeface="Arial" pitchFamily="34" charset="0"/>
                          <a:ea typeface="+mn-ea"/>
                          <a:cs typeface="Arial" pitchFamily="34" charset="0"/>
                        </a:rPr>
                        <a:t>Strategy</a:t>
                      </a:r>
                    </a:p>
                  </a:txBody>
                  <a:tcPr marL="83140" marR="83140" marT="80697" marB="80706">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509412" rtl="0" eaLnBrk="1" fontAlgn="auto" latinLnBrk="0" hangingPunct="1">
                        <a:lnSpc>
                          <a:spcPct val="100000"/>
                        </a:lnSpc>
                        <a:spcBef>
                          <a:spcPts val="0"/>
                        </a:spcBef>
                        <a:spcAft>
                          <a:spcPts val="0"/>
                        </a:spcAft>
                        <a:buClrTx/>
                        <a:buSzTx/>
                        <a:buFontTx/>
                        <a:buNone/>
                        <a:tabLst/>
                        <a:defRPr/>
                      </a:pPr>
                      <a:r>
                        <a:rPr lang="en-US" sz="1400" b="0" kern="1200" dirty="0">
                          <a:solidFill>
                            <a:schemeClr val="dk1"/>
                          </a:solidFill>
                          <a:latin typeface="Arial" pitchFamily="34" charset="0"/>
                          <a:ea typeface="+mn-ea"/>
                          <a:cs typeface="Arial" pitchFamily="34" charset="0"/>
                        </a:rPr>
                        <a:t>What strategies</a:t>
                      </a:r>
                      <a:r>
                        <a:rPr lang="en-US" sz="1400" b="0" kern="1200" baseline="0" dirty="0">
                          <a:solidFill>
                            <a:schemeClr val="dk1"/>
                          </a:solidFill>
                          <a:latin typeface="Arial" pitchFamily="34" charset="0"/>
                          <a:ea typeface="+mn-ea"/>
                          <a:cs typeface="Arial" pitchFamily="34" charset="0"/>
                        </a:rPr>
                        <a:t> do we have </a:t>
                      </a:r>
                      <a:r>
                        <a:rPr lang="en-US" sz="1400" b="0" kern="1200" dirty="0">
                          <a:solidFill>
                            <a:schemeClr val="dk1"/>
                          </a:solidFill>
                          <a:latin typeface="Arial" pitchFamily="34" charset="0"/>
                          <a:ea typeface="+mn-ea"/>
                          <a:cs typeface="Arial" pitchFamily="34" charset="0"/>
                        </a:rPr>
                        <a:t>t</a:t>
                      </a:r>
                      <a:r>
                        <a:rPr lang="en-US" sz="1400" kern="1200" dirty="0">
                          <a:solidFill>
                            <a:schemeClr val="dk1"/>
                          </a:solidFill>
                          <a:latin typeface="Arial" pitchFamily="34" charset="0"/>
                          <a:ea typeface="+mn-ea"/>
                          <a:cs typeface="Arial" pitchFamily="34" charset="0"/>
                        </a:rPr>
                        <a:t>o</a:t>
                      </a:r>
                      <a:r>
                        <a:rPr lang="en-US" sz="1400" kern="1200" baseline="0" dirty="0">
                          <a:solidFill>
                            <a:schemeClr val="dk1"/>
                          </a:solidFill>
                          <a:latin typeface="Arial" pitchFamily="34" charset="0"/>
                          <a:ea typeface="+mn-ea"/>
                          <a:cs typeface="Arial" pitchFamily="34" charset="0"/>
                        </a:rPr>
                        <a:t> achieve these results? What changes are needed to our </a:t>
                      </a:r>
                      <a:r>
                        <a:rPr lang="en-US" sz="1400" b="0" kern="1200" dirty="0">
                          <a:solidFill>
                            <a:schemeClr val="dk1"/>
                          </a:solidFill>
                          <a:latin typeface="Arial" pitchFamily="34" charset="0"/>
                          <a:ea typeface="+mn-ea"/>
                          <a:cs typeface="Arial" pitchFamily="34" charset="0"/>
                        </a:rPr>
                        <a:t>key business processes</a:t>
                      </a:r>
                      <a:r>
                        <a:rPr lang="en-US" sz="1400" kern="1200" baseline="0" dirty="0">
                          <a:solidFill>
                            <a:schemeClr val="dk1"/>
                          </a:solidFill>
                          <a:latin typeface="Arial" pitchFamily="34" charset="0"/>
                          <a:ea typeface="+mn-ea"/>
                          <a:cs typeface="Arial" pitchFamily="34" charset="0"/>
                        </a:rPr>
                        <a:t>? Expressed in metrics where possible.</a:t>
                      </a:r>
                      <a:endParaRPr lang="en-US" sz="1400" b="1" kern="1200" dirty="0">
                        <a:solidFill>
                          <a:schemeClr val="dk1"/>
                        </a:solidFill>
                        <a:latin typeface="Arial" pitchFamily="34" charset="0"/>
                        <a:ea typeface="+mn-ea"/>
                        <a:cs typeface="Arial" pitchFamily="34" charset="0"/>
                      </a:endParaRPr>
                    </a:p>
                  </a:txBody>
                  <a:tcPr marL="83140" marR="83140" marT="80697" marB="80706">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645581">
                <a:tc>
                  <a:txBody>
                    <a:bodyPr/>
                    <a:lstStyle/>
                    <a:p>
                      <a:pPr marL="0" marR="0" indent="0" algn="l" defTabSz="509412" rtl="0" eaLnBrk="1" fontAlgn="auto" latinLnBrk="0" hangingPunct="1">
                        <a:lnSpc>
                          <a:spcPct val="100000"/>
                        </a:lnSpc>
                        <a:spcBef>
                          <a:spcPts val="0"/>
                        </a:spcBef>
                        <a:spcAft>
                          <a:spcPts val="0"/>
                        </a:spcAft>
                        <a:buClrTx/>
                        <a:buSzTx/>
                        <a:buFontTx/>
                        <a:buNone/>
                        <a:tabLst/>
                        <a:defRPr/>
                      </a:pPr>
                      <a:r>
                        <a:rPr lang="en-US" sz="1600" b="1" kern="1200" dirty="0">
                          <a:solidFill>
                            <a:schemeClr val="dk1"/>
                          </a:solidFill>
                          <a:latin typeface="Arial" pitchFamily="34" charset="0"/>
                          <a:ea typeface="+mn-ea"/>
                          <a:cs typeface="Arial" pitchFamily="34" charset="0"/>
                        </a:rPr>
                        <a:t>Governance</a:t>
                      </a:r>
                      <a:endParaRPr lang="en-US" sz="1600" dirty="0">
                        <a:latin typeface="Arial" pitchFamily="34" charset="0"/>
                        <a:cs typeface="Arial" pitchFamily="34" charset="0"/>
                      </a:endParaRPr>
                    </a:p>
                  </a:txBody>
                  <a:tcPr marL="83140" marR="83140" marT="80682" marB="80697">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indent="0" algn="l" defTabSz="509412" rtl="0" eaLnBrk="1" fontAlgn="auto" latinLnBrk="0" hangingPunct="1">
                        <a:lnSpc>
                          <a:spcPct val="100000"/>
                        </a:lnSpc>
                        <a:spcBef>
                          <a:spcPts val="0"/>
                        </a:spcBef>
                        <a:spcAft>
                          <a:spcPts val="0"/>
                        </a:spcAft>
                        <a:buClrTx/>
                        <a:buSzTx/>
                        <a:buFontTx/>
                        <a:buNone/>
                        <a:tabLst/>
                        <a:defRPr/>
                      </a:pPr>
                      <a:r>
                        <a:rPr lang="en-US" sz="1400" dirty="0">
                          <a:latin typeface="Arial" pitchFamily="34" charset="0"/>
                          <a:cs typeface="Arial" pitchFamily="34" charset="0"/>
                        </a:rPr>
                        <a:t>How</a:t>
                      </a:r>
                      <a:r>
                        <a:rPr lang="en-US" sz="1400" baseline="0" dirty="0">
                          <a:latin typeface="Arial" pitchFamily="34" charset="0"/>
                          <a:cs typeface="Arial" pitchFamily="34" charset="0"/>
                        </a:rPr>
                        <a:t> is the process governed to ensure these required outcomes? Who has what decision rights? What is Global, Regional or Local.</a:t>
                      </a:r>
                      <a:endParaRPr lang="en-US" sz="1400" dirty="0">
                        <a:latin typeface="Arial" pitchFamily="34" charset="0"/>
                        <a:cs typeface="Arial" pitchFamily="34" charset="0"/>
                      </a:endParaRPr>
                    </a:p>
                  </a:txBody>
                  <a:tcPr marL="83140" marR="83140" marT="80682" marB="80697">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806871">
                <a:tc>
                  <a:txBody>
                    <a:bodyPr/>
                    <a:lstStyle/>
                    <a:p>
                      <a:pPr marL="0" algn="l" defTabSz="509412" rtl="0" eaLnBrk="1" latinLnBrk="0" hangingPunct="1"/>
                      <a:r>
                        <a:rPr lang="en-US" sz="1600" b="1" kern="1200" dirty="0">
                          <a:solidFill>
                            <a:schemeClr val="tx1"/>
                          </a:solidFill>
                          <a:latin typeface="Arial" pitchFamily="34" charset="0"/>
                          <a:ea typeface="+mn-ea"/>
                          <a:cs typeface="Arial" pitchFamily="34" charset="0"/>
                        </a:rPr>
                        <a:t>Metrics</a:t>
                      </a:r>
                    </a:p>
                  </a:txBody>
                  <a:tcPr marL="83140" marR="83140" marT="80706" marB="80706">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5094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What are the KPI’s that express the end-to-end performance? Sub process performance? Who are accountable for these? Do we have good benchmarks?</a:t>
                      </a:r>
                      <a:endParaRPr lang="en-US" sz="1400" b="1" kern="1200" dirty="0">
                        <a:solidFill>
                          <a:schemeClr val="tx1"/>
                        </a:solidFill>
                        <a:latin typeface="Arial" pitchFamily="34" charset="0"/>
                        <a:ea typeface="+mn-ea"/>
                        <a:cs typeface="Arial" pitchFamily="34" charset="0"/>
                      </a:endParaRPr>
                    </a:p>
                  </a:txBody>
                  <a:tcPr marL="83140" marR="83140" marT="80706" marB="80706">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591718">
                <a:tc>
                  <a:txBody>
                    <a:bodyPr/>
                    <a:lstStyle/>
                    <a:p>
                      <a:pPr marL="0" algn="l" defTabSz="509412" rtl="0" eaLnBrk="1" latinLnBrk="0" hangingPunct="1"/>
                      <a:r>
                        <a:rPr kumimoji="0" lang="en-US" sz="16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Process</a:t>
                      </a:r>
                      <a:endParaRPr lang="en-US" sz="1600" b="1" kern="1200" dirty="0">
                        <a:solidFill>
                          <a:schemeClr val="tx1"/>
                        </a:solidFill>
                        <a:latin typeface="Arial" pitchFamily="34" charset="0"/>
                        <a:ea typeface="+mn-ea"/>
                        <a:cs typeface="Arial" pitchFamily="34" charset="0"/>
                      </a:endParaRPr>
                    </a:p>
                  </a:txBody>
                  <a:tcPr marL="83140" marR="83140" marT="80706" marB="80706">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509412" rtl="0" eaLnBrk="1" fontAlgn="auto" latinLnBrk="0" hangingPunct="1">
                        <a:lnSpc>
                          <a:spcPct val="100000"/>
                        </a:lnSpc>
                        <a:spcBef>
                          <a:spcPts val="0"/>
                        </a:spcBef>
                        <a:spcAft>
                          <a:spcPts val="0"/>
                        </a:spcAft>
                        <a:buClrTx/>
                        <a:buSzTx/>
                        <a:buFontTx/>
                        <a:buNone/>
                        <a:tabLst/>
                        <a:defRPr/>
                      </a:pPr>
                      <a:r>
                        <a:rPr lang="en-US" sz="1400" dirty="0">
                          <a:latin typeface="Arial" pitchFamily="34" charset="0"/>
                          <a:cs typeface="Arial" pitchFamily="34" charset="0"/>
                        </a:rPr>
                        <a:t>What is the optimum process design to deliver the required business performance?</a:t>
                      </a:r>
                      <a:r>
                        <a:rPr kumimoji="0" lang="en-US" sz="14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Do we have industry best practices?</a:t>
                      </a:r>
                      <a:endParaRPr lang="en-US" sz="1400" b="1" kern="1200" dirty="0">
                        <a:solidFill>
                          <a:schemeClr val="tx1"/>
                        </a:solidFill>
                        <a:latin typeface="Arial" pitchFamily="34" charset="0"/>
                        <a:ea typeface="+mn-ea"/>
                        <a:cs typeface="Arial" pitchFamily="34" charset="0"/>
                      </a:endParaRPr>
                    </a:p>
                  </a:txBody>
                  <a:tcPr marL="83140" marR="83140" marT="80706" marB="80706">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591718">
                <a:tc>
                  <a:txBody>
                    <a:bodyPr/>
                    <a:lstStyle/>
                    <a:p>
                      <a:r>
                        <a:rPr kumimoji="0" lang="en-US" sz="16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People</a:t>
                      </a:r>
                      <a:endParaRPr lang="en-US" sz="1600" dirty="0">
                        <a:latin typeface="Arial" pitchFamily="34" charset="0"/>
                        <a:cs typeface="Arial" pitchFamily="34" charset="0"/>
                      </a:endParaRPr>
                    </a:p>
                  </a:txBody>
                  <a:tcPr marL="83140" marR="83140" marT="80706" marB="80706">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509412"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latin typeface="Arial" pitchFamily="34" charset="0"/>
                          <a:ea typeface="+mn-ea"/>
                          <a:cs typeface="Arial" pitchFamily="34" charset="0"/>
                        </a:rPr>
                        <a:t>What skills,</a:t>
                      </a:r>
                      <a:r>
                        <a:rPr lang="en-US" sz="1400" kern="1200" baseline="0" dirty="0">
                          <a:solidFill>
                            <a:schemeClr val="dk1"/>
                          </a:solidFill>
                          <a:latin typeface="Arial" pitchFamily="34" charset="0"/>
                          <a:ea typeface="+mn-ea"/>
                          <a:cs typeface="Arial" pitchFamily="34" charset="0"/>
                        </a:rPr>
                        <a:t> organization, motivation and incentive are required to execute the process and deliver the performance?</a:t>
                      </a:r>
                      <a:endParaRPr lang="en-US" sz="1400" dirty="0">
                        <a:latin typeface="Arial" pitchFamily="34" charset="0"/>
                        <a:cs typeface="Arial" pitchFamily="34" charset="0"/>
                      </a:endParaRPr>
                    </a:p>
                  </a:txBody>
                  <a:tcPr marL="83140" marR="83140" marT="80706" marB="80706">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591718">
                <a:tc>
                  <a: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latin typeface="Arial" pitchFamily="34" charset="0"/>
                          <a:ea typeface="+mn-ea"/>
                          <a:cs typeface="Arial" pitchFamily="34" charset="0"/>
                        </a:rPr>
                        <a:t>Technology</a:t>
                      </a:r>
                      <a:endParaRPr kumimoji="0" lang="en-US"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a:txBody>
                  <a:tcPr marL="83140" marR="83140" marT="80706" marB="80706">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What are the required technology enablers? What is best practice to leverage that technology?</a:t>
                      </a:r>
                    </a:p>
                  </a:txBody>
                  <a:tcPr marL="83140" marR="83140" marT="80706" marB="80706">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grpSp>
        <p:nvGrpSpPr>
          <p:cNvPr id="7" name="Group 6"/>
          <p:cNvGrpSpPr/>
          <p:nvPr/>
        </p:nvGrpSpPr>
        <p:grpSpPr>
          <a:xfrm>
            <a:off x="731520" y="1695057"/>
            <a:ext cx="1330277" cy="4180453"/>
            <a:chOff x="78376" y="1771870"/>
            <a:chExt cx="630547" cy="4737846"/>
          </a:xfrm>
        </p:grpSpPr>
        <p:sp>
          <p:nvSpPr>
            <p:cNvPr id="8" name="Down Arrow 7"/>
            <p:cNvSpPr/>
            <p:nvPr/>
          </p:nvSpPr>
          <p:spPr>
            <a:xfrm>
              <a:off x="78376" y="1771870"/>
              <a:ext cx="630547" cy="4737846"/>
            </a:xfrm>
            <a:prstGeom prst="down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a:p>
          </p:txBody>
        </p:sp>
        <p:sp>
          <p:nvSpPr>
            <p:cNvPr id="9" name="TextBox 8"/>
            <p:cNvSpPr txBox="1"/>
            <p:nvPr/>
          </p:nvSpPr>
          <p:spPr>
            <a:xfrm rot="16200000">
              <a:off x="-716693" y="3236959"/>
              <a:ext cx="2220686" cy="175062"/>
            </a:xfrm>
            <a:prstGeom prst="rect">
              <a:avLst/>
            </a:prstGeom>
            <a:noFill/>
          </p:spPr>
          <p:txBody>
            <a:bodyPr wrap="square" rtlCol="0" anchor="ctr">
              <a:spAutoFit/>
            </a:bodyPr>
            <a:lstStyle/>
            <a:p>
              <a:r>
                <a:rPr lang="en-US" i="1" dirty="0"/>
                <a:t>Design</a:t>
              </a:r>
            </a:p>
          </p:txBody>
        </p:sp>
      </p:grpSp>
      <p:grpSp>
        <p:nvGrpSpPr>
          <p:cNvPr id="10" name="Group 7"/>
          <p:cNvGrpSpPr/>
          <p:nvPr/>
        </p:nvGrpSpPr>
        <p:grpSpPr>
          <a:xfrm>
            <a:off x="9991106" y="1695057"/>
            <a:ext cx="1362693" cy="4180452"/>
            <a:chOff x="9313817" y="1771870"/>
            <a:chExt cx="616427" cy="4737846"/>
          </a:xfrm>
        </p:grpSpPr>
        <p:sp>
          <p:nvSpPr>
            <p:cNvPr id="11" name="Up Arrow 10"/>
            <p:cNvSpPr/>
            <p:nvPr/>
          </p:nvSpPr>
          <p:spPr>
            <a:xfrm>
              <a:off x="9313817" y="1771870"/>
              <a:ext cx="616427" cy="4737846"/>
            </a:xfrm>
            <a:prstGeom prst="upArrow">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a:p>
          </p:txBody>
        </p:sp>
        <p:sp>
          <p:nvSpPr>
            <p:cNvPr id="12" name="TextBox 11"/>
            <p:cNvSpPr txBox="1"/>
            <p:nvPr/>
          </p:nvSpPr>
          <p:spPr>
            <a:xfrm rot="5400000">
              <a:off x="8525825" y="4438391"/>
              <a:ext cx="2220686" cy="167071"/>
            </a:xfrm>
            <a:prstGeom prst="rect">
              <a:avLst/>
            </a:prstGeom>
            <a:noFill/>
          </p:spPr>
          <p:txBody>
            <a:bodyPr wrap="square" rtlCol="0" anchor="ctr">
              <a:spAutoFit/>
            </a:bodyPr>
            <a:lstStyle/>
            <a:p>
              <a:r>
                <a:rPr lang="en-US" i="1" dirty="0"/>
                <a:t>Implement</a:t>
              </a:r>
            </a:p>
          </p:txBody>
        </p:sp>
      </p:grpSp>
      <p:sp>
        <p:nvSpPr>
          <p:cNvPr id="2" name="Slide Number Placeholder 1"/>
          <p:cNvSpPr>
            <a:spLocks noGrp="1"/>
          </p:cNvSpPr>
          <p:nvPr>
            <p:ph type="sldNum" sz="quarter" idx="10"/>
          </p:nvPr>
        </p:nvSpPr>
        <p:spPr/>
        <p:txBody>
          <a:bodyPr/>
          <a:lstStyle/>
          <a:p>
            <a:pPr defTabSz="455621" fontAlgn="base">
              <a:spcBef>
                <a:spcPct val="0"/>
              </a:spcBef>
              <a:spcAft>
                <a:spcPct val="0"/>
              </a:spcAft>
              <a:defRPr/>
            </a:pPr>
            <a:fld id="{5276565E-5A9B-4B05-83C2-0CC7C2C924A0}" type="slidenum">
              <a:rPr lang="en-US" smtClean="0">
                <a:solidFill>
                  <a:prstClr val="black"/>
                </a:solidFill>
                <a:latin typeface="Arial" charset="0"/>
                <a:ea typeface="ＭＳ Ｐゴシック" pitchFamily="34" charset="-128"/>
              </a:rPr>
              <a:pPr defTabSz="455621" fontAlgn="base">
                <a:spcBef>
                  <a:spcPct val="0"/>
                </a:spcBef>
                <a:spcAft>
                  <a:spcPct val="0"/>
                </a:spcAft>
                <a:defRPr/>
              </a:pPr>
              <a:t>2</a:t>
            </a:fld>
            <a:endParaRPr lang="en-US" dirty="0">
              <a:solidFill>
                <a:prstClr val="black"/>
              </a:solidFill>
              <a:latin typeface="Arial" charset="0"/>
              <a:ea typeface="ＭＳ Ｐゴシック" pitchFamily="34" charset="-128"/>
            </a:endParaRPr>
          </a:p>
        </p:txBody>
      </p:sp>
    </p:spTree>
    <p:extLst>
      <p:ext uri="{BB962C8B-B14F-4D97-AF65-F5344CB8AC3E}">
        <p14:creationId xmlns:p14="http://schemas.microsoft.com/office/powerpoint/2010/main" val="2291321308"/>
      </p:ext>
    </p:extLst>
  </p:cSld>
  <p:clrMapOvr>
    <a:overrideClrMapping bg1="lt1" tx1="dk1" bg2="lt2" tx2="dk2" accent1="accent1" accent2="accent2" accent3="accent3" accent4="accent4" accent5="accent5" accent6="accent6" hlink="hlink" folHlink="folHlink"/>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1520" y="173355"/>
            <a:ext cx="11182349" cy="923925"/>
          </a:xfrm>
        </p:spPr>
        <p:txBody>
          <a:bodyPr/>
          <a:lstStyle/>
          <a:p>
            <a:r>
              <a:rPr lang="en-US" dirty="0"/>
              <a:t>1. Project Purpose/Expected Results</a:t>
            </a:r>
          </a:p>
        </p:txBody>
      </p:sp>
      <p:grpSp>
        <p:nvGrpSpPr>
          <p:cNvPr id="13" name="Group 12"/>
          <p:cNvGrpSpPr/>
          <p:nvPr/>
        </p:nvGrpSpPr>
        <p:grpSpPr>
          <a:xfrm>
            <a:off x="731520" y="1097280"/>
            <a:ext cx="10698480" cy="4971774"/>
            <a:chOff x="400050" y="902367"/>
            <a:chExt cx="8496300" cy="3568488"/>
          </a:xfrm>
        </p:grpSpPr>
        <p:sp>
          <p:nvSpPr>
            <p:cNvPr id="14" name="Rectangle 13"/>
            <p:cNvSpPr/>
            <p:nvPr/>
          </p:nvSpPr>
          <p:spPr>
            <a:xfrm>
              <a:off x="400050" y="1316094"/>
              <a:ext cx="4171950" cy="3154761"/>
            </a:xfrm>
            <a:prstGeom prst="rect">
              <a:avLst/>
            </a:prstGeom>
            <a:solidFill>
              <a:sysClr val="window" lastClr="FFFFFF"/>
            </a:solidFill>
            <a:ln w="25400" cap="flat" cmpd="sng" algn="ctr">
              <a:solidFill>
                <a:srgbClr val="8064A2"/>
              </a:solidFill>
              <a:prstDash val="solid"/>
            </a:ln>
            <a:effectLst/>
          </p:spPr>
          <p:txBody>
            <a:bodyPr rtlCol="0" anchor="ctr"/>
            <a:lstStyle/>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sz="1400" kern="0" dirty="0">
                <a:solidFill>
                  <a:sysClr val="windowText" lastClr="000000"/>
                </a:solidFill>
                <a:latin typeface="Calibri"/>
              </a:endParaRPr>
            </a:p>
            <a:p>
              <a:pPr marL="285750" indent="-285750">
                <a:buFont typeface="Arial" pitchFamily="34" charset="0"/>
                <a:buChar char="•"/>
                <a:defRPr/>
              </a:pPr>
              <a:endParaRPr lang="en-US" sz="1400" kern="0" dirty="0">
                <a:solidFill>
                  <a:sysClr val="windowText" lastClr="000000"/>
                </a:solidFill>
                <a:latin typeface="Calibri"/>
              </a:endParaRPr>
            </a:p>
            <a:p>
              <a:pPr marL="285750" indent="-285750">
                <a:buFont typeface="Arial" pitchFamily="34" charset="0"/>
                <a:buChar char="•"/>
                <a:defRPr/>
              </a:pPr>
              <a:endParaRPr lang="en-US" sz="1400" kern="0" dirty="0">
                <a:solidFill>
                  <a:sysClr val="windowText" lastClr="000000"/>
                </a:solidFill>
                <a:latin typeface="Calibri"/>
              </a:endParaRPr>
            </a:p>
            <a:p>
              <a:pPr marL="285750" indent="-285750">
                <a:buFont typeface="Arial" pitchFamily="34" charset="0"/>
                <a:buChar char="•"/>
                <a:defRPr/>
              </a:pPr>
              <a:endParaRPr lang="en-US" sz="1400" kern="0" dirty="0">
                <a:solidFill>
                  <a:sysClr val="windowText" lastClr="000000"/>
                </a:solidFill>
                <a:latin typeface="Calibri"/>
              </a:endParaRPr>
            </a:p>
            <a:p>
              <a:pPr marL="285750" indent="-285750">
                <a:buFont typeface="Arial" pitchFamily="34" charset="0"/>
                <a:buChar char="•"/>
                <a:defRPr/>
              </a:pPr>
              <a:endParaRPr lang="en-US" sz="1400" kern="0" dirty="0">
                <a:solidFill>
                  <a:sysClr val="windowText" lastClr="000000"/>
                </a:solidFill>
                <a:latin typeface="Calibri"/>
              </a:endParaRPr>
            </a:p>
            <a:p>
              <a:pPr marL="285750" indent="-285750">
                <a:buFont typeface="Arial" pitchFamily="34" charset="0"/>
                <a:buChar char="•"/>
                <a:defRPr/>
              </a:pPr>
              <a:endParaRPr lang="en-US" sz="1400" kern="0" dirty="0">
                <a:solidFill>
                  <a:sysClr val="windowText" lastClr="000000"/>
                </a:solidFill>
                <a:latin typeface="Calibri"/>
              </a:endParaRPr>
            </a:p>
            <a:p>
              <a:pPr marL="285750" indent="-285750">
                <a:buFont typeface="Arial" pitchFamily="34" charset="0"/>
                <a:buChar char="•"/>
                <a:defRPr/>
              </a:pPr>
              <a:endParaRPr lang="en-US" sz="1400" kern="0" dirty="0">
                <a:solidFill>
                  <a:sysClr val="windowText" lastClr="000000"/>
                </a:solidFill>
                <a:latin typeface="Calibri"/>
              </a:endParaRPr>
            </a:p>
            <a:p>
              <a:pPr marL="285750" indent="-285750">
                <a:buFont typeface="Arial" pitchFamily="34" charset="0"/>
                <a:buChar char="•"/>
                <a:defRPr/>
              </a:pPr>
              <a:r>
                <a:rPr lang="en-US" sz="1400" kern="0" dirty="0">
                  <a:solidFill>
                    <a:sysClr val="windowText" lastClr="000000"/>
                  </a:solidFill>
                  <a:latin typeface="Calibri"/>
                </a:rPr>
                <a:t>As part of MDLZ Global Digitalization Strategy , MDLZ identified the need for API Led Integration . Mule Soft is the chosen Technology to support the endeavor. Purpose of this project is to implement a Mule platform and build Integration for ANZ &amp; Canada – ACTPM pilot. </a:t>
              </a:r>
            </a:p>
            <a:p>
              <a:pP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r>
                <a:rPr lang="en-US" sz="1400" kern="0" dirty="0">
                  <a:solidFill>
                    <a:sysClr val="windowText" lastClr="000000"/>
                  </a:solidFill>
                  <a:latin typeface="Calibri"/>
                </a:rPr>
                <a:t>With implementation of Sales Force in October 2021, there is requirement to implement MuleSoft for integration to over come some of the pain points of the past implementations of Retail Execution projects  </a:t>
              </a:r>
            </a:p>
            <a:p>
              <a:pPr marL="285750" indent="-285750">
                <a:buFont typeface="Arial" pitchFamily="34" charset="0"/>
                <a:buChar char="•"/>
                <a:defRPr/>
              </a:pPr>
              <a:endParaRPr lang="en-US" kern="0" dirty="0">
                <a:solidFill>
                  <a:sysClr val="windowText" lastClr="000000"/>
                </a:solidFill>
                <a:latin typeface="Calibri"/>
              </a:endParaRPr>
            </a:p>
            <a:p>
              <a:pPr marL="285750" indent="-285750">
                <a:buFont typeface="Arial" pitchFamily="34" charset="0"/>
                <a:buChar char="•"/>
                <a:defRPr/>
              </a:pPr>
              <a:r>
                <a:rPr lang="en-US" sz="1400" kern="0" dirty="0">
                  <a:solidFill>
                    <a:sysClr val="windowText" lastClr="000000"/>
                  </a:solidFill>
                  <a:latin typeface="Calibri"/>
                </a:rPr>
                <a:t>Replacing Middleware systems that are approaching end of life with Mule Soft and harmonize the landscape</a:t>
              </a:r>
            </a:p>
            <a:p>
              <a:pPr marL="285750" indent="-285750">
                <a:buFont typeface="Arial" pitchFamily="34" charset="0"/>
                <a:buChar char="•"/>
                <a:defRPr/>
              </a:pPr>
              <a:endParaRPr lang="en-US" sz="1400" kern="0" dirty="0">
                <a:solidFill>
                  <a:sysClr val="windowText" lastClr="000000"/>
                </a:solidFill>
                <a:latin typeface="Calibri"/>
              </a:endParaRPr>
            </a:p>
            <a:p>
              <a:pPr marL="285750" indent="-285750">
                <a:buFont typeface="Arial" pitchFamily="34" charset="0"/>
                <a:buChar char="•"/>
                <a:defRPr/>
              </a:pPr>
              <a:r>
                <a:rPr lang="en-US" sz="1400" kern="0" dirty="0">
                  <a:solidFill>
                    <a:sysClr val="windowText" lastClr="000000"/>
                  </a:solidFill>
                  <a:latin typeface="Calibri"/>
                </a:rPr>
                <a:t>Build an API based Application Network that has better availability , reusability and security following Mule Soft Framework and  guidelines.</a:t>
              </a:r>
            </a:p>
            <a:p>
              <a:pPr marL="285750" indent="-285750">
                <a:buFont typeface="Arial" pitchFamily="34" charset="0"/>
                <a:buChar char="•"/>
                <a:defRPr/>
              </a:pPr>
              <a:r>
                <a:rPr lang="en-US" sz="1400" kern="0" dirty="0">
                  <a:solidFill>
                    <a:sysClr val="windowText" lastClr="000000"/>
                  </a:solidFill>
                  <a:latin typeface="Calibri"/>
                </a:rPr>
                <a:t>Reduce dependency on core SAP Systems  - Releases to make changes.</a:t>
              </a:r>
            </a:p>
            <a:p>
              <a:pPr>
                <a:defRPr/>
              </a:pPr>
              <a:endParaRPr lang="en-US" sz="1400" kern="0" dirty="0">
                <a:solidFill>
                  <a:sysClr val="windowText" lastClr="000000"/>
                </a:solidFill>
                <a:latin typeface="Calibri"/>
              </a:endParaRPr>
            </a:p>
            <a:p>
              <a:pPr marL="285750" indent="-285750">
                <a:buFont typeface="Arial" pitchFamily="34" charset="0"/>
                <a:buChar char="•"/>
                <a:defRPr/>
              </a:pPr>
              <a:endParaRPr lang="en-US" kern="0" dirty="0">
                <a:solidFill>
                  <a:sysClr val="windowText" lastClr="000000"/>
                </a:solidFill>
                <a:latin typeface="Calibri"/>
              </a:endParaRPr>
            </a:p>
            <a:p>
              <a:pPr>
                <a:defRPr/>
              </a:pPr>
              <a:endParaRPr lang="en-US" kern="0" dirty="0">
                <a:solidFill>
                  <a:sysClr val="windowText" lastClr="000000"/>
                </a:solidFill>
                <a:latin typeface="Calibri"/>
              </a:endParaRPr>
            </a:p>
            <a:p>
              <a:pPr marL="285750" indent="-285750">
                <a:buFont typeface="Arial" pitchFamily="34" charset="0"/>
                <a:buChar char="•"/>
                <a:defRPr/>
              </a:pPr>
              <a:endParaRPr lang="en-US" kern="0" dirty="0">
                <a:solidFill>
                  <a:sysClr val="windowText" lastClr="000000"/>
                </a:solidFill>
                <a:latin typeface="Calibri"/>
              </a:endParaRPr>
            </a:p>
            <a:p>
              <a:pPr marL="285750" indent="-285750">
                <a:buFont typeface="Arial" pitchFamily="34" charset="0"/>
                <a:buChar char="•"/>
                <a:defRPr/>
              </a:pPr>
              <a:endParaRPr lang="en-US" kern="0" dirty="0">
                <a:solidFill>
                  <a:sysClr val="windowText" lastClr="000000"/>
                </a:solidFill>
                <a:latin typeface="Calibri"/>
              </a:endParaRPr>
            </a:p>
            <a:p>
              <a:pPr marL="285750" indent="-285750">
                <a:buFont typeface="Arial" pitchFamily="34" charset="0"/>
                <a:buChar char="•"/>
                <a:defRPr/>
              </a:pPr>
              <a:endParaRPr lang="en-US" kern="0" dirty="0">
                <a:solidFill>
                  <a:sysClr val="windowText" lastClr="000000"/>
                </a:solidFill>
                <a:latin typeface="Calibri"/>
              </a:endParaRPr>
            </a:p>
            <a:p>
              <a:pPr marL="285750" indent="-285750">
                <a:buFont typeface="Arial" pitchFamily="34" charset="0"/>
                <a:buChar char="•"/>
                <a:defRPr/>
              </a:pPr>
              <a:endParaRPr lang="en-US" kern="0" dirty="0">
                <a:solidFill>
                  <a:sysClr val="windowText" lastClr="000000"/>
                </a:solidFill>
                <a:latin typeface="Calibri"/>
              </a:endParaRPr>
            </a:p>
          </p:txBody>
        </p:sp>
        <p:sp>
          <p:nvSpPr>
            <p:cNvPr id="16" name="Rectangle 15"/>
            <p:cNvSpPr/>
            <p:nvPr/>
          </p:nvSpPr>
          <p:spPr>
            <a:xfrm>
              <a:off x="400050" y="902368"/>
              <a:ext cx="4171950" cy="354931"/>
            </a:xfrm>
            <a:prstGeom prst="rect">
              <a:avLst/>
            </a:prstGeom>
            <a:gradFill rotWithShape="1">
              <a:gsLst>
                <a:gs pos="0">
                  <a:srgbClr val="8064A2">
                    <a:tint val="100000"/>
                    <a:shade val="100000"/>
                    <a:satMod val="130000"/>
                  </a:srgbClr>
                </a:gs>
                <a:gs pos="100000">
                  <a:srgbClr val="8064A2">
                    <a:tint val="50000"/>
                    <a:shade val="100000"/>
                    <a:satMod val="350000"/>
                  </a:srgbClr>
                </a:gs>
              </a:gsLst>
              <a:lin ang="16200000" scaled="0"/>
            </a:gradFill>
            <a:ln w="9525" cap="flat" cmpd="sng" algn="ctr">
              <a:solidFill>
                <a:srgbClr val="8064A2">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a:defRPr/>
              </a:pPr>
              <a:r>
                <a:rPr lang="en-US" kern="0" dirty="0">
                  <a:solidFill>
                    <a:sysClr val="window" lastClr="FFFFFF"/>
                  </a:solidFill>
                  <a:latin typeface="Calibri"/>
                </a:rPr>
                <a:t>Project Purpose</a:t>
              </a:r>
            </a:p>
          </p:txBody>
        </p:sp>
        <p:sp>
          <p:nvSpPr>
            <p:cNvPr id="17" name="Rectangle 16"/>
            <p:cNvSpPr/>
            <p:nvPr/>
          </p:nvSpPr>
          <p:spPr>
            <a:xfrm>
              <a:off x="4724400" y="902367"/>
              <a:ext cx="4171950" cy="354931"/>
            </a:xfrm>
            <a:prstGeom prst="rect">
              <a:avLst/>
            </a:prstGeom>
            <a:gradFill rotWithShape="1">
              <a:gsLst>
                <a:gs pos="0">
                  <a:srgbClr val="8064A2">
                    <a:tint val="100000"/>
                    <a:shade val="100000"/>
                    <a:satMod val="130000"/>
                  </a:srgbClr>
                </a:gs>
                <a:gs pos="100000">
                  <a:srgbClr val="8064A2">
                    <a:tint val="50000"/>
                    <a:shade val="100000"/>
                    <a:satMod val="350000"/>
                  </a:srgbClr>
                </a:gs>
              </a:gsLst>
              <a:lin ang="16200000" scaled="0"/>
            </a:gradFill>
            <a:ln w="9525" cap="flat" cmpd="sng" algn="ctr">
              <a:solidFill>
                <a:srgbClr val="8064A2">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a:defRPr/>
              </a:pPr>
              <a:r>
                <a:rPr lang="en-US" kern="0" dirty="0">
                  <a:solidFill>
                    <a:sysClr val="window" lastClr="FFFFFF"/>
                  </a:solidFill>
                  <a:latin typeface="Calibri"/>
                </a:rPr>
                <a:t>Expected Results</a:t>
              </a:r>
            </a:p>
          </p:txBody>
        </p:sp>
      </p:grpSp>
      <p:sp>
        <p:nvSpPr>
          <p:cNvPr id="5" name="Slide Number Placeholder 4"/>
          <p:cNvSpPr>
            <a:spLocks noGrp="1"/>
          </p:cNvSpPr>
          <p:nvPr>
            <p:ph type="sldNum" sz="quarter" idx="10"/>
          </p:nvPr>
        </p:nvSpPr>
        <p:spPr/>
        <p:txBody>
          <a:bodyPr/>
          <a:lstStyle/>
          <a:p>
            <a:pPr defTabSz="455621" fontAlgn="base">
              <a:spcBef>
                <a:spcPct val="0"/>
              </a:spcBef>
              <a:spcAft>
                <a:spcPct val="0"/>
              </a:spcAft>
              <a:defRPr/>
            </a:pPr>
            <a:fld id="{5276565E-5A9B-4B05-83C2-0CC7C2C924A0}" type="slidenum">
              <a:rPr lang="en-US" smtClean="0">
                <a:solidFill>
                  <a:prstClr val="black"/>
                </a:solidFill>
                <a:ea typeface="ＭＳ Ｐゴシック" pitchFamily="34" charset="-128"/>
              </a:rPr>
              <a:pPr defTabSz="455621" fontAlgn="base">
                <a:spcBef>
                  <a:spcPct val="0"/>
                </a:spcBef>
                <a:spcAft>
                  <a:spcPct val="0"/>
                </a:spcAft>
                <a:defRPr/>
              </a:pPr>
              <a:t>3</a:t>
            </a:fld>
            <a:endParaRPr lang="en-US" dirty="0">
              <a:solidFill>
                <a:prstClr val="black"/>
              </a:solidFill>
              <a:ea typeface="ＭＳ Ｐゴシック" pitchFamily="34" charset="-128"/>
            </a:endParaRPr>
          </a:p>
        </p:txBody>
      </p:sp>
      <p:sp>
        <p:nvSpPr>
          <p:cNvPr id="9" name="Rectangle 8">
            <a:extLst>
              <a:ext uri="{FF2B5EF4-FFF2-40B4-BE49-F238E27FC236}">
                <a16:creationId xmlns:a16="http://schemas.microsoft.com/office/drawing/2014/main" id="{5555837A-A2CC-4AC6-9BF1-07678EB2B015}"/>
              </a:ext>
            </a:extLst>
          </p:cNvPr>
          <p:cNvSpPr/>
          <p:nvPr/>
        </p:nvSpPr>
        <p:spPr>
          <a:xfrm>
            <a:off x="6096000" y="1752601"/>
            <a:ext cx="5253290" cy="4316454"/>
          </a:xfrm>
          <a:prstGeom prst="rect">
            <a:avLst/>
          </a:prstGeom>
          <a:solidFill>
            <a:sysClr val="window" lastClr="FFFFFF"/>
          </a:solidFill>
          <a:ln w="25400" cap="flat" cmpd="sng" algn="ctr">
            <a:solidFill>
              <a:srgbClr val="8064A2"/>
            </a:solidFill>
            <a:prstDash val="solid"/>
          </a:ln>
          <a:effectLst/>
        </p:spPr>
        <p:txBody>
          <a:bodyPr rtlCol="0" anchor="ctr"/>
          <a:lstStyle/>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sz="1400" kern="0" dirty="0">
              <a:solidFill>
                <a:sysClr val="windowText" lastClr="000000"/>
              </a:solidFill>
              <a:latin typeface="Calibri"/>
            </a:endParaRPr>
          </a:p>
          <a:p>
            <a:pPr marL="285750" indent="-285750">
              <a:buFont typeface="Arial" pitchFamily="34" charset="0"/>
              <a:buChar char="•"/>
              <a:defRPr/>
            </a:pPr>
            <a:endParaRPr lang="en-US" sz="1400" kern="0" dirty="0">
              <a:solidFill>
                <a:sysClr val="windowText" lastClr="000000"/>
              </a:solidFill>
              <a:latin typeface="Calibri"/>
            </a:endParaRPr>
          </a:p>
          <a:p>
            <a:pPr marL="285750" indent="-285750">
              <a:buFont typeface="Arial" pitchFamily="34" charset="0"/>
              <a:buChar char="•"/>
              <a:defRPr/>
            </a:pPr>
            <a:endParaRPr lang="en-US" sz="1400" kern="0" dirty="0">
              <a:solidFill>
                <a:sysClr val="windowText" lastClr="000000"/>
              </a:solidFill>
              <a:latin typeface="Calibri"/>
            </a:endParaRPr>
          </a:p>
          <a:p>
            <a:pPr marL="285750" indent="-285750">
              <a:buFont typeface="Arial" pitchFamily="34" charset="0"/>
              <a:buChar char="•"/>
              <a:defRPr/>
            </a:pPr>
            <a:endParaRPr lang="en-US" sz="1400" kern="0" dirty="0">
              <a:solidFill>
                <a:sysClr val="windowText" lastClr="000000"/>
              </a:solidFill>
              <a:latin typeface="Calibri"/>
            </a:endParaRPr>
          </a:p>
          <a:p>
            <a:pPr marL="285750" indent="-285750">
              <a:buFont typeface="Arial" pitchFamily="34" charset="0"/>
              <a:buChar char="•"/>
              <a:defRPr/>
            </a:pPr>
            <a:endParaRPr lang="en-US" sz="1400" kern="0" dirty="0">
              <a:solidFill>
                <a:sysClr val="windowText" lastClr="000000"/>
              </a:solidFill>
              <a:latin typeface="Calibri"/>
            </a:endParaRPr>
          </a:p>
          <a:p>
            <a:pPr marL="285750" indent="-285750">
              <a:buFont typeface="Arial" pitchFamily="34" charset="0"/>
              <a:buChar char="•"/>
              <a:defRPr/>
            </a:pPr>
            <a:endParaRPr lang="en-US" sz="1400" kern="0" dirty="0">
              <a:solidFill>
                <a:sysClr val="windowText" lastClr="000000"/>
              </a:solidFill>
              <a:latin typeface="Calibri"/>
            </a:endParaRPr>
          </a:p>
          <a:p>
            <a:pPr marL="285750" indent="-285750">
              <a:buFont typeface="Arial" pitchFamily="34" charset="0"/>
              <a:buChar char="•"/>
              <a:defRPr/>
            </a:pPr>
            <a:endParaRPr lang="en-US" sz="1400" kern="0" dirty="0">
              <a:solidFill>
                <a:sysClr val="windowText" lastClr="000000"/>
              </a:solidFill>
              <a:latin typeface="Calibri"/>
            </a:endParaRPr>
          </a:p>
          <a:p>
            <a:pPr marL="285750" indent="-285750">
              <a:buFont typeface="Arial" pitchFamily="34" charset="0"/>
              <a:buChar char="•"/>
              <a:defRPr/>
            </a:pPr>
            <a:r>
              <a:rPr lang="en-US" sz="1400" kern="0" dirty="0">
                <a:solidFill>
                  <a:sysClr val="windowText" lastClr="000000"/>
                </a:solidFill>
                <a:latin typeface="Calibri"/>
              </a:rPr>
              <a:t>Architect and deliver Composable API Framework . Deploy and run Mule Soft platform , integrated with Multi cloud landscape.</a:t>
            </a:r>
          </a:p>
          <a:p>
            <a:pP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r>
              <a:rPr lang="en-US" sz="1400" kern="0" dirty="0">
                <a:solidFill>
                  <a:sysClr val="windowText" lastClr="000000"/>
                </a:solidFill>
                <a:latin typeface="Calibri"/>
              </a:rPr>
              <a:t>Deliver ANZ  (~ 40) &amp; Canada Interfaces to support Business Go live using API Design approach that is accustomed to reuse.</a:t>
            </a:r>
          </a:p>
          <a:p>
            <a:pPr marL="285750" indent="-285750">
              <a:buFont typeface="Arial" pitchFamily="34" charset="0"/>
              <a:buChar char="•"/>
              <a:defRPr/>
            </a:pPr>
            <a:endParaRPr lang="en-US" kern="0" dirty="0">
              <a:solidFill>
                <a:sysClr val="windowText" lastClr="000000"/>
              </a:solidFill>
              <a:latin typeface="Calibri"/>
            </a:endParaRPr>
          </a:p>
          <a:p>
            <a:pPr marL="285750" indent="-285750">
              <a:buFont typeface="Arial" pitchFamily="34" charset="0"/>
              <a:buChar char="•"/>
              <a:defRPr/>
            </a:pPr>
            <a:r>
              <a:rPr lang="en-GB" sz="1400" kern="0" dirty="0">
                <a:solidFill>
                  <a:sysClr val="windowText" lastClr="000000"/>
                </a:solidFill>
                <a:latin typeface="Calibri"/>
              </a:rPr>
              <a:t>API prototyping using RAML to showcase iterative API specification driven design.</a:t>
            </a:r>
          </a:p>
          <a:p>
            <a:pPr marL="285750" indent="-285750">
              <a:buFont typeface="Arial" pitchFamily="34" charset="0"/>
              <a:buChar char="•"/>
              <a:defRPr/>
            </a:pPr>
            <a:endParaRPr lang="en-GB" sz="1400" kern="0" dirty="0">
              <a:solidFill>
                <a:sysClr val="windowText" lastClr="000000"/>
              </a:solidFill>
              <a:latin typeface="Calibri"/>
            </a:endParaRPr>
          </a:p>
          <a:p>
            <a:pPr marL="285750" indent="-285750">
              <a:buFont typeface="Arial" pitchFamily="34" charset="0"/>
              <a:buChar char="•"/>
              <a:defRPr/>
            </a:pPr>
            <a:r>
              <a:rPr lang="en-GB" sz="1400" kern="0" dirty="0">
                <a:solidFill>
                  <a:sysClr val="windowText" lastClr="000000"/>
                </a:solidFill>
                <a:latin typeface="Calibri"/>
              </a:rPr>
              <a:t>Ensure development &amp; test cycles governed by collaboration tools and code repositories.</a:t>
            </a:r>
          </a:p>
          <a:p>
            <a:pPr marL="285750" indent="-285750">
              <a:buFont typeface="Arial" pitchFamily="34" charset="0"/>
              <a:buChar char="•"/>
              <a:defRPr/>
            </a:pPr>
            <a:endParaRPr lang="en-GB" sz="1400" kern="0" dirty="0">
              <a:solidFill>
                <a:sysClr val="windowText" lastClr="000000"/>
              </a:solidFill>
              <a:latin typeface="Calibri"/>
            </a:endParaRPr>
          </a:p>
          <a:p>
            <a:pPr marL="285750" indent="-285750">
              <a:buFont typeface="Arial" pitchFamily="34" charset="0"/>
              <a:buChar char="•"/>
              <a:defRPr/>
            </a:pPr>
            <a:r>
              <a:rPr lang="en-GB" sz="1400" kern="0" dirty="0">
                <a:solidFill>
                  <a:sysClr val="windowText" lastClr="000000"/>
                </a:solidFill>
                <a:latin typeface="Calibri"/>
              </a:rPr>
              <a:t>Build Exception and Error Handling Framework .</a:t>
            </a:r>
          </a:p>
          <a:p>
            <a:pPr>
              <a:defRPr/>
            </a:pPr>
            <a:endParaRPr lang="en-GB" sz="1400" kern="0" dirty="0">
              <a:solidFill>
                <a:sysClr val="windowText" lastClr="000000"/>
              </a:solidFill>
              <a:latin typeface="Calibri"/>
            </a:endParaRPr>
          </a:p>
          <a:p>
            <a:pPr marL="285750" indent="-285750">
              <a:buFont typeface="Arial" pitchFamily="34" charset="0"/>
              <a:buChar char="•"/>
              <a:defRPr/>
            </a:pPr>
            <a:r>
              <a:rPr lang="en-GB" sz="1400" kern="0" dirty="0">
                <a:solidFill>
                  <a:sysClr val="windowText" lastClr="000000"/>
                </a:solidFill>
                <a:latin typeface="Calibri"/>
              </a:rPr>
              <a:t>Reduce the over all time to market and cost for future Market deployment</a:t>
            </a:r>
          </a:p>
          <a:p>
            <a:pPr>
              <a:defRPr/>
            </a:pPr>
            <a:endParaRPr lang="en-GB" sz="1400" kern="0" dirty="0">
              <a:solidFill>
                <a:sysClr val="windowText" lastClr="000000"/>
              </a:solidFill>
              <a:latin typeface="Calibri"/>
            </a:endParaRPr>
          </a:p>
          <a:p>
            <a:pPr>
              <a:defRPr/>
            </a:pPr>
            <a:endParaRPr lang="en-US" sz="1400" kern="0" dirty="0">
              <a:solidFill>
                <a:sysClr val="windowText" lastClr="000000"/>
              </a:solidFill>
              <a:latin typeface="Calibri"/>
            </a:endParaRPr>
          </a:p>
          <a:p>
            <a:pPr marL="285750" indent="-285750">
              <a:buFont typeface="Arial" pitchFamily="34" charset="0"/>
              <a:buChar char="•"/>
              <a:defRPr/>
            </a:pPr>
            <a:endParaRPr lang="en-US" sz="1400" kern="0" dirty="0">
              <a:solidFill>
                <a:sysClr val="windowText" lastClr="000000"/>
              </a:solidFill>
              <a:latin typeface="Calibri"/>
            </a:endParaRPr>
          </a:p>
          <a:p>
            <a:pPr marL="285750" indent="-285750">
              <a:buFont typeface="Arial" pitchFamily="34" charset="0"/>
              <a:buChar char="•"/>
              <a:defRPr/>
            </a:pPr>
            <a:endParaRPr lang="en-US" kern="0" dirty="0">
              <a:solidFill>
                <a:sysClr val="windowText" lastClr="000000"/>
              </a:solidFill>
              <a:latin typeface="Calibri"/>
            </a:endParaRPr>
          </a:p>
          <a:p>
            <a:pPr>
              <a:defRPr/>
            </a:pPr>
            <a:endParaRPr lang="en-US" kern="0" dirty="0">
              <a:solidFill>
                <a:sysClr val="windowText" lastClr="000000"/>
              </a:solidFill>
              <a:latin typeface="Calibri"/>
            </a:endParaRPr>
          </a:p>
          <a:p>
            <a:pPr marL="285750" indent="-285750">
              <a:buFont typeface="Arial" pitchFamily="34" charset="0"/>
              <a:buChar char="•"/>
              <a:defRPr/>
            </a:pPr>
            <a:endParaRPr lang="en-US" kern="0" dirty="0">
              <a:solidFill>
                <a:sysClr val="windowText" lastClr="000000"/>
              </a:solidFill>
              <a:latin typeface="Calibri"/>
            </a:endParaRPr>
          </a:p>
          <a:p>
            <a:pPr marL="285750" indent="-285750">
              <a:buFont typeface="Arial" pitchFamily="34" charset="0"/>
              <a:buChar char="•"/>
              <a:defRPr/>
            </a:pPr>
            <a:endParaRPr lang="en-US" kern="0" dirty="0">
              <a:solidFill>
                <a:sysClr val="windowText" lastClr="000000"/>
              </a:solidFill>
              <a:latin typeface="Calibri"/>
            </a:endParaRPr>
          </a:p>
          <a:p>
            <a:pPr marL="285750" indent="-285750">
              <a:buFont typeface="Arial" pitchFamily="34" charset="0"/>
              <a:buChar char="•"/>
              <a:defRPr/>
            </a:pPr>
            <a:endParaRPr lang="en-US" kern="0" dirty="0">
              <a:solidFill>
                <a:sysClr val="windowText" lastClr="000000"/>
              </a:solidFill>
              <a:latin typeface="Calibri"/>
            </a:endParaRPr>
          </a:p>
          <a:p>
            <a:pPr marL="285750" indent="-285750">
              <a:buFont typeface="Arial" pitchFamily="34" charset="0"/>
              <a:buChar char="•"/>
              <a:defRPr/>
            </a:pPr>
            <a:endParaRPr lang="en-US" kern="0" dirty="0">
              <a:solidFill>
                <a:sysClr val="windowText" lastClr="000000"/>
              </a:solidFill>
              <a:latin typeface="Calibri"/>
            </a:endParaRPr>
          </a:p>
        </p:txBody>
      </p:sp>
    </p:spTree>
    <p:extLst>
      <p:ext uri="{BB962C8B-B14F-4D97-AF65-F5344CB8AC3E}">
        <p14:creationId xmlns:p14="http://schemas.microsoft.com/office/powerpoint/2010/main" val="332523754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1520" y="182880"/>
            <a:ext cx="11182349" cy="923925"/>
          </a:xfrm>
        </p:spPr>
        <p:txBody>
          <a:bodyPr/>
          <a:lstStyle/>
          <a:p>
            <a:r>
              <a:rPr lang="en-US" dirty="0"/>
              <a:t>2. Project Strategy/Implementation – Pete / David / Kavitha</a:t>
            </a:r>
          </a:p>
        </p:txBody>
      </p:sp>
      <p:grpSp>
        <p:nvGrpSpPr>
          <p:cNvPr id="13" name="Group 12"/>
          <p:cNvGrpSpPr/>
          <p:nvPr/>
        </p:nvGrpSpPr>
        <p:grpSpPr>
          <a:xfrm>
            <a:off x="746760" y="1111244"/>
            <a:ext cx="10698480" cy="4452412"/>
            <a:chOff x="-242723" y="902368"/>
            <a:chExt cx="5520388" cy="4452412"/>
          </a:xfrm>
        </p:grpSpPr>
        <p:sp>
          <p:nvSpPr>
            <p:cNvPr id="14" name="Rectangle 13"/>
            <p:cNvSpPr/>
            <p:nvPr/>
          </p:nvSpPr>
          <p:spPr>
            <a:xfrm>
              <a:off x="-242723" y="1257299"/>
              <a:ext cx="5520388" cy="4097481"/>
            </a:xfrm>
            <a:prstGeom prst="rect">
              <a:avLst/>
            </a:prstGeom>
            <a:solidFill>
              <a:sysClr val="window" lastClr="FFFFFF"/>
            </a:solidFill>
            <a:ln w="25400" cap="flat" cmpd="sng" algn="ctr">
              <a:solidFill>
                <a:srgbClr val="8064A2"/>
              </a:solidFill>
              <a:prstDash val="solid"/>
            </a:ln>
            <a:effectLst/>
          </p:spPr>
          <p:txBody>
            <a:bodyPr rtlCol="0" anchor="ctr"/>
            <a:lstStyle/>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en-US" sz="1400" i="1" kern="0" dirty="0">
                <a:solidFill>
                  <a:sysClr val="windowText" lastClr="000000"/>
                </a:solidFill>
                <a:latin typeface="Calibri"/>
                <a:cs typeface="Arial" pitchFamily="34" charset="0"/>
              </a:endParaRPr>
            </a:p>
            <a:p>
              <a:pPr marL="285750" indent="-285750">
                <a:buFont typeface="Arial" pitchFamily="34" charset="0"/>
                <a:buChar char="•"/>
                <a:defRPr/>
              </a:pPr>
              <a:endParaRPr lang="tr-TR" kern="0" dirty="0">
                <a:solidFill>
                  <a:sysClr val="windowText" lastClr="000000"/>
                </a:solidFill>
                <a:latin typeface="Calibri"/>
              </a:endParaRPr>
            </a:p>
            <a:p>
              <a:pPr marL="285750" indent="-285750">
                <a:buFont typeface="Arial" pitchFamily="34" charset="0"/>
                <a:buChar char="•"/>
                <a:defRPr/>
              </a:pPr>
              <a:endParaRPr lang="tr-TR" kern="0" dirty="0">
                <a:solidFill>
                  <a:sysClr val="windowText" lastClr="000000"/>
                </a:solidFill>
                <a:latin typeface="Calibri"/>
              </a:endParaRPr>
            </a:p>
            <a:p>
              <a:pPr marL="285750" indent="-285750">
                <a:buFont typeface="Arial" pitchFamily="34" charset="0"/>
                <a:buChar char="•"/>
                <a:defRPr/>
              </a:pPr>
              <a:endParaRPr lang="tr-TR" kern="0" dirty="0">
                <a:solidFill>
                  <a:sysClr val="windowText" lastClr="000000"/>
                </a:solidFill>
                <a:latin typeface="Calibri"/>
              </a:endParaRPr>
            </a:p>
            <a:p>
              <a:pPr marL="285750" indent="-285750">
                <a:buFont typeface="Arial" pitchFamily="34" charset="0"/>
                <a:buChar char="•"/>
                <a:defRPr/>
              </a:pPr>
              <a:endParaRPr lang="tr-TR" kern="0" dirty="0">
                <a:solidFill>
                  <a:sysClr val="windowText" lastClr="000000"/>
                </a:solidFill>
                <a:latin typeface="Calibri"/>
              </a:endParaRPr>
            </a:p>
            <a:p>
              <a:pPr marL="285750" indent="-285750">
                <a:buFont typeface="Arial" pitchFamily="34" charset="0"/>
                <a:buChar char="•"/>
                <a:defRPr/>
              </a:pPr>
              <a:endParaRPr lang="tr-TR" kern="0" dirty="0">
                <a:solidFill>
                  <a:sysClr val="windowText" lastClr="000000"/>
                </a:solidFill>
                <a:latin typeface="Calibri"/>
              </a:endParaRPr>
            </a:p>
            <a:p>
              <a:pPr marL="285750" indent="-285750">
                <a:buFont typeface="Arial" pitchFamily="34" charset="0"/>
                <a:buChar char="•"/>
                <a:defRPr/>
              </a:pPr>
              <a:endParaRPr lang="tr-TR" kern="0" dirty="0">
                <a:solidFill>
                  <a:sysClr val="windowText" lastClr="000000"/>
                </a:solidFill>
                <a:latin typeface="Calibri"/>
              </a:endParaRPr>
            </a:p>
          </p:txBody>
        </p:sp>
        <p:sp>
          <p:nvSpPr>
            <p:cNvPr id="15" name="Rectangle 14"/>
            <p:cNvSpPr/>
            <p:nvPr/>
          </p:nvSpPr>
          <p:spPr>
            <a:xfrm>
              <a:off x="400050" y="902368"/>
              <a:ext cx="4171950" cy="354931"/>
            </a:xfrm>
            <a:prstGeom prst="rect">
              <a:avLst/>
            </a:prstGeom>
            <a:gradFill rotWithShape="1">
              <a:gsLst>
                <a:gs pos="0">
                  <a:srgbClr val="8064A2">
                    <a:tint val="100000"/>
                    <a:shade val="100000"/>
                    <a:satMod val="130000"/>
                  </a:srgbClr>
                </a:gs>
                <a:gs pos="100000">
                  <a:srgbClr val="8064A2">
                    <a:tint val="50000"/>
                    <a:shade val="100000"/>
                    <a:satMod val="350000"/>
                  </a:srgbClr>
                </a:gs>
              </a:gsLst>
              <a:lin ang="16200000" scaled="0"/>
            </a:gradFill>
            <a:ln w="9525" cap="flat" cmpd="sng" algn="ctr">
              <a:solidFill>
                <a:srgbClr val="8064A2">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a:defRPr/>
              </a:pPr>
              <a:r>
                <a:rPr lang="en-US" kern="0" dirty="0">
                  <a:solidFill>
                    <a:sysClr val="window" lastClr="FFFFFF"/>
                  </a:solidFill>
                  <a:latin typeface="Calibri"/>
                </a:rPr>
                <a:t>Project Strategy  -</a:t>
              </a:r>
            </a:p>
          </p:txBody>
        </p:sp>
      </p:grpSp>
      <p:sp>
        <p:nvSpPr>
          <p:cNvPr id="3" name="Slide Number Placeholder 2"/>
          <p:cNvSpPr>
            <a:spLocks noGrp="1"/>
          </p:cNvSpPr>
          <p:nvPr>
            <p:ph type="sldNum" sz="quarter" idx="10"/>
          </p:nvPr>
        </p:nvSpPr>
        <p:spPr/>
        <p:txBody>
          <a:bodyPr/>
          <a:lstStyle/>
          <a:p>
            <a:pPr defTabSz="455621" fontAlgn="base">
              <a:spcBef>
                <a:spcPct val="0"/>
              </a:spcBef>
              <a:spcAft>
                <a:spcPct val="0"/>
              </a:spcAft>
              <a:defRPr/>
            </a:pPr>
            <a:fld id="{5276565E-5A9B-4B05-83C2-0CC7C2C924A0}" type="slidenum">
              <a:rPr lang="en-US" smtClean="0">
                <a:solidFill>
                  <a:prstClr val="black"/>
                </a:solidFill>
                <a:ea typeface="ＭＳ Ｐゴシック" pitchFamily="34" charset="-128"/>
              </a:rPr>
              <a:pPr defTabSz="455621" fontAlgn="base">
                <a:spcBef>
                  <a:spcPct val="0"/>
                </a:spcBef>
                <a:spcAft>
                  <a:spcPct val="0"/>
                </a:spcAft>
                <a:defRPr/>
              </a:pPr>
              <a:t>4</a:t>
            </a:fld>
            <a:endParaRPr lang="en-US" dirty="0">
              <a:solidFill>
                <a:prstClr val="black"/>
              </a:solidFill>
              <a:ea typeface="ＭＳ Ｐゴシック" pitchFamily="34" charset="-128"/>
            </a:endParaRPr>
          </a:p>
        </p:txBody>
      </p:sp>
      <p:sp>
        <p:nvSpPr>
          <p:cNvPr id="5" name="TextBox 4">
            <a:extLst>
              <a:ext uri="{FF2B5EF4-FFF2-40B4-BE49-F238E27FC236}">
                <a16:creationId xmlns:a16="http://schemas.microsoft.com/office/drawing/2014/main" id="{653A8864-BFED-4722-854A-EC444B27F602}"/>
              </a:ext>
            </a:extLst>
          </p:cNvPr>
          <p:cNvSpPr txBox="1"/>
          <p:nvPr/>
        </p:nvSpPr>
        <p:spPr>
          <a:xfrm>
            <a:off x="1676400" y="1828800"/>
            <a:ext cx="2388795" cy="369332"/>
          </a:xfrm>
          <a:prstGeom prst="rect">
            <a:avLst/>
          </a:prstGeom>
          <a:noFill/>
        </p:spPr>
        <p:txBody>
          <a:bodyPr wrap="none" rtlCol="0">
            <a:spAutoFit/>
          </a:bodyPr>
          <a:lstStyle/>
          <a:p>
            <a:r>
              <a:rPr lang="en-GB" dirty="0">
                <a:latin typeface="Verdana" pitchFamily="34" charset="0"/>
                <a:ea typeface="Verdana" pitchFamily="34" charset="0"/>
                <a:cs typeface="Verdana" pitchFamily="34" charset="0"/>
              </a:rPr>
              <a:t>RUN from the start</a:t>
            </a:r>
          </a:p>
        </p:txBody>
      </p:sp>
    </p:spTree>
    <p:extLst>
      <p:ext uri="{BB962C8B-B14F-4D97-AF65-F5344CB8AC3E}">
        <p14:creationId xmlns:p14="http://schemas.microsoft.com/office/powerpoint/2010/main" val="258713960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3"/>
          <p:cNvSpPr>
            <a:spLocks noGrp="1" noChangeArrowheads="1"/>
          </p:cNvSpPr>
          <p:nvPr>
            <p:ph type="title"/>
          </p:nvPr>
        </p:nvSpPr>
        <p:spPr>
          <a:xfrm>
            <a:off x="731520" y="182880"/>
            <a:ext cx="8720504" cy="697832"/>
          </a:xfrm>
        </p:spPr>
        <p:txBody>
          <a:bodyPr vert="horz" lIns="87248" tIns="43624" rIns="87248" bIns="43624" rtlCol="0" anchor="ctr">
            <a:normAutofit/>
          </a:bodyPr>
          <a:lstStyle/>
          <a:p>
            <a:pPr algn="l" eaLnBrk="1" hangingPunct="1"/>
            <a:r>
              <a:rPr lang="en-US" dirty="0"/>
              <a:t>3. Project Scope</a:t>
            </a:r>
          </a:p>
        </p:txBody>
      </p:sp>
      <p:grpSp>
        <p:nvGrpSpPr>
          <p:cNvPr id="24" name="Group 23"/>
          <p:cNvGrpSpPr/>
          <p:nvPr/>
        </p:nvGrpSpPr>
        <p:grpSpPr>
          <a:xfrm>
            <a:off x="712284" y="1097280"/>
            <a:ext cx="10717715" cy="4396218"/>
            <a:chOff x="384774" y="902367"/>
            <a:chExt cx="8511576" cy="3453065"/>
          </a:xfrm>
        </p:grpSpPr>
        <p:sp>
          <p:nvSpPr>
            <p:cNvPr id="25" name="Rectangle 24"/>
            <p:cNvSpPr/>
            <p:nvPr/>
          </p:nvSpPr>
          <p:spPr>
            <a:xfrm>
              <a:off x="384774" y="1251487"/>
              <a:ext cx="4171950" cy="3098132"/>
            </a:xfrm>
            <a:prstGeom prst="rect">
              <a:avLst/>
            </a:prstGeom>
            <a:solidFill>
              <a:sysClr val="window" lastClr="FFFFFF"/>
            </a:solidFill>
            <a:ln w="25400" cap="flat" cmpd="sng" algn="ctr">
              <a:solidFill>
                <a:srgbClr val="8064A2"/>
              </a:solidFill>
              <a:prstDash val="solid"/>
            </a:ln>
            <a:effectLst/>
          </p:spPr>
          <p:txBody>
            <a:bodyPr rtlCol="0" anchor="ctr"/>
            <a:lstStyle/>
            <a:p>
              <a:pPr marL="285750" indent="-285750">
                <a:buFont typeface="Arial" panose="020B0604020202020204" pitchFamily="34" charset="0"/>
                <a:buChar char="•"/>
                <a:defRPr/>
              </a:pPr>
              <a:r>
                <a:rPr lang="en-US" kern="0" dirty="0" err="1">
                  <a:solidFill>
                    <a:sysClr val="windowText" lastClr="000000"/>
                  </a:solidFill>
                  <a:latin typeface="Calibri"/>
                </a:rPr>
                <a:t>Anypoint</a:t>
              </a:r>
              <a:r>
                <a:rPr lang="en-US" kern="0" dirty="0">
                  <a:solidFill>
                    <a:sysClr val="windowText" lastClr="000000"/>
                  </a:solidFill>
                  <a:latin typeface="Calibri"/>
                </a:rPr>
                <a:t> Cloud Hub platform Setup and configuration</a:t>
              </a:r>
            </a:p>
            <a:p>
              <a:pPr marL="285750" indent="-285750">
                <a:buFont typeface="Arial" panose="020B0604020202020204" pitchFamily="34" charset="0"/>
                <a:buChar char="•"/>
                <a:defRPr/>
              </a:pPr>
              <a:r>
                <a:rPr lang="en-US" kern="0" dirty="0">
                  <a:solidFill>
                    <a:sysClr val="windowText" lastClr="000000"/>
                  </a:solidFill>
                  <a:latin typeface="Calibri"/>
                </a:rPr>
                <a:t>Discovery &amp; Blue printing sessions</a:t>
              </a:r>
            </a:p>
            <a:p>
              <a:pPr marL="285750" indent="-285750">
                <a:buFont typeface="Arial" panose="020B0604020202020204" pitchFamily="34" charset="0"/>
                <a:buChar char="•"/>
                <a:defRPr/>
              </a:pPr>
              <a:r>
                <a:rPr lang="en-US" kern="0" dirty="0">
                  <a:solidFill>
                    <a:sysClr val="windowText" lastClr="000000"/>
                  </a:solidFill>
                  <a:latin typeface="Calibri"/>
                </a:rPr>
                <a:t>Setting up VPN Connection</a:t>
              </a:r>
            </a:p>
            <a:p>
              <a:pPr marL="285750" indent="-285750">
                <a:buFont typeface="Arial" panose="020B0604020202020204" pitchFamily="34" charset="0"/>
                <a:buChar char="•"/>
                <a:defRPr/>
              </a:pPr>
              <a:r>
                <a:rPr lang="en-US" kern="0" dirty="0">
                  <a:solidFill>
                    <a:sysClr val="windowText" lastClr="000000"/>
                  </a:solidFill>
                  <a:latin typeface="Calibri"/>
                </a:rPr>
                <a:t>Define and build the interfaces in scope</a:t>
              </a:r>
            </a:p>
            <a:p>
              <a:pPr marL="285750" indent="-285750">
                <a:buFont typeface="Arial" panose="020B0604020202020204" pitchFamily="34" charset="0"/>
                <a:buChar char="•"/>
                <a:defRPr/>
              </a:pPr>
              <a:r>
                <a:rPr lang="en-US" kern="0" dirty="0">
                  <a:solidFill>
                    <a:sysClr val="windowText" lastClr="000000"/>
                  </a:solidFill>
                  <a:latin typeface="Calibri"/>
                </a:rPr>
                <a:t>Exception Handling</a:t>
              </a:r>
            </a:p>
            <a:p>
              <a:pPr marL="285750" indent="-285750">
                <a:buFont typeface="Arial" panose="020B0604020202020204" pitchFamily="34" charset="0"/>
                <a:buChar char="•"/>
                <a:defRPr/>
              </a:pPr>
              <a:r>
                <a:rPr lang="en-US" kern="0" dirty="0">
                  <a:solidFill>
                    <a:sysClr val="windowText" lastClr="000000"/>
                  </a:solidFill>
                  <a:highlight>
                    <a:srgbClr val="FF0000"/>
                  </a:highlight>
                  <a:latin typeface="Calibri"/>
                </a:rPr>
                <a:t>Configuring governing tools to support design /build / Testing and documentation </a:t>
              </a:r>
            </a:p>
            <a:p>
              <a:pPr marL="285750" indent="-285750">
                <a:buFont typeface="Arial" panose="020B0604020202020204" pitchFamily="34" charset="0"/>
                <a:buChar char="•"/>
                <a:defRPr/>
              </a:pPr>
              <a:endParaRPr lang="en-US" kern="0" dirty="0">
                <a:solidFill>
                  <a:sysClr val="windowText" lastClr="000000"/>
                </a:solidFill>
                <a:latin typeface="Calibri"/>
              </a:endParaRPr>
            </a:p>
            <a:p>
              <a:pPr marL="285750" indent="-285750">
                <a:buFont typeface="Arial" panose="020B0604020202020204" pitchFamily="34" charset="0"/>
                <a:buChar char="•"/>
                <a:defRPr/>
              </a:pPr>
              <a:r>
                <a:rPr lang="en-US" kern="0" dirty="0">
                  <a:solidFill>
                    <a:sysClr val="windowText" lastClr="000000"/>
                  </a:solidFill>
                  <a:latin typeface="Calibri"/>
                </a:rPr>
                <a:t>  </a:t>
              </a:r>
            </a:p>
            <a:p>
              <a:pPr marL="285750" indent="-285750">
                <a:buFont typeface="Arial" panose="020B0604020202020204" pitchFamily="34" charset="0"/>
                <a:buChar char="•"/>
                <a:defRPr/>
              </a:pPr>
              <a:endParaRPr lang="en-US" kern="0" dirty="0">
                <a:solidFill>
                  <a:sysClr val="windowText" lastClr="000000"/>
                </a:solidFill>
                <a:latin typeface="Calibri"/>
              </a:endParaRPr>
            </a:p>
            <a:p>
              <a:pPr marL="285750" lvl="1" indent="-285750">
                <a:buFont typeface="Arial" panose="020B0604020202020204" pitchFamily="34" charset="0"/>
                <a:buChar char="•"/>
                <a:defRPr/>
              </a:pPr>
              <a:endParaRPr lang="en-US" kern="0" dirty="0">
                <a:solidFill>
                  <a:sysClr val="windowText" lastClr="000000"/>
                </a:solidFill>
                <a:latin typeface="Calibri"/>
              </a:endParaRPr>
            </a:p>
            <a:p>
              <a:pPr marL="285750" lvl="1" indent="-285750">
                <a:buFont typeface="Arial" panose="020B0604020202020204" pitchFamily="34" charset="0"/>
                <a:buChar char="•"/>
                <a:defRPr/>
              </a:pPr>
              <a:endParaRPr lang="en-US" kern="0" dirty="0">
                <a:solidFill>
                  <a:sysClr val="windowText" lastClr="000000"/>
                </a:solidFill>
                <a:latin typeface="Calibri"/>
              </a:endParaRPr>
            </a:p>
          </p:txBody>
        </p:sp>
        <p:sp>
          <p:nvSpPr>
            <p:cNvPr id="26" name="Rectangle 25"/>
            <p:cNvSpPr/>
            <p:nvPr/>
          </p:nvSpPr>
          <p:spPr>
            <a:xfrm>
              <a:off x="4724400" y="1257299"/>
              <a:ext cx="4171950" cy="3098133"/>
            </a:xfrm>
            <a:prstGeom prst="rect">
              <a:avLst/>
            </a:prstGeom>
            <a:solidFill>
              <a:sysClr val="window" lastClr="FFFFFF"/>
            </a:solidFill>
            <a:ln w="25400" cap="flat" cmpd="sng" algn="ctr">
              <a:solidFill>
                <a:srgbClr val="8064A2"/>
              </a:solidFill>
              <a:prstDash val="solid"/>
            </a:ln>
            <a:effectLst/>
          </p:spPr>
          <p:txBody>
            <a:bodyPr rtlCol="0" anchor="ctr"/>
            <a:lstStyle/>
            <a:p>
              <a:pPr marL="285750" indent="-285750" algn="ctr">
                <a:buFont typeface="Arial" panose="020B0604020202020204" pitchFamily="34" charset="0"/>
                <a:buChar char="•"/>
                <a:defRPr/>
              </a:pPr>
              <a:endParaRPr lang="en-US" kern="0" dirty="0">
                <a:solidFill>
                  <a:sysClr val="windowText" lastClr="000000"/>
                </a:solidFill>
                <a:latin typeface="Calibri"/>
              </a:endParaRPr>
            </a:p>
            <a:p>
              <a:pPr marL="285750" indent="-285750">
                <a:buFont typeface="Arial" panose="020B0604020202020204" pitchFamily="34" charset="0"/>
                <a:buChar char="•"/>
                <a:defRPr/>
              </a:pPr>
              <a:r>
                <a:rPr lang="en-US" kern="0" dirty="0">
                  <a:solidFill>
                    <a:sysClr val="windowText" lastClr="000000"/>
                  </a:solidFill>
                  <a:latin typeface="Calibri"/>
                </a:rPr>
                <a:t>Any functional processes that are not interfaced are out of scope</a:t>
              </a:r>
            </a:p>
            <a:p>
              <a:pPr marL="285750" indent="-285750">
                <a:buFont typeface="Arial" panose="020B0604020202020204" pitchFamily="34" charset="0"/>
                <a:buChar char="•"/>
                <a:defRPr/>
              </a:pPr>
              <a:endParaRPr lang="en-US" kern="0" dirty="0">
                <a:solidFill>
                  <a:sysClr val="windowText" lastClr="000000"/>
                </a:solidFill>
                <a:latin typeface="Calibri"/>
              </a:endParaRPr>
            </a:p>
            <a:p>
              <a:pPr>
                <a:defRPr/>
              </a:pPr>
              <a:endParaRPr lang="en-US" kern="0" dirty="0">
                <a:solidFill>
                  <a:sysClr val="windowText" lastClr="000000"/>
                </a:solidFill>
                <a:latin typeface="Calibri"/>
              </a:endParaRPr>
            </a:p>
            <a:p>
              <a:pPr marL="285750" indent="-285750">
                <a:buFont typeface="Arial" panose="020B0604020202020204" pitchFamily="34" charset="0"/>
                <a:buChar char="•"/>
                <a:defRPr/>
              </a:pPr>
              <a:endParaRPr lang="en-US" kern="0" dirty="0">
                <a:solidFill>
                  <a:sysClr val="windowText" lastClr="000000"/>
                </a:solidFill>
                <a:latin typeface="Calibri"/>
              </a:endParaRPr>
            </a:p>
            <a:p>
              <a:pPr marL="285750" indent="-285750">
                <a:buFont typeface="Arial" panose="020B0604020202020204" pitchFamily="34" charset="0"/>
                <a:buChar char="•"/>
                <a:defRPr/>
              </a:pPr>
              <a:endParaRPr lang="en-US" kern="0" dirty="0">
                <a:solidFill>
                  <a:sysClr val="windowText" lastClr="000000"/>
                </a:solidFill>
                <a:latin typeface="Calibri"/>
              </a:endParaRPr>
            </a:p>
            <a:p>
              <a:pPr marL="285750" indent="-285750">
                <a:buFont typeface="Arial" panose="020B0604020202020204" pitchFamily="34" charset="0"/>
                <a:buChar char="•"/>
                <a:defRPr/>
              </a:pPr>
              <a:endParaRPr lang="en-US" kern="0" dirty="0">
                <a:solidFill>
                  <a:sysClr val="windowText" lastClr="000000"/>
                </a:solidFill>
                <a:latin typeface="Calibri"/>
              </a:endParaRPr>
            </a:p>
          </p:txBody>
        </p:sp>
        <p:sp>
          <p:nvSpPr>
            <p:cNvPr id="27" name="Rectangle 26"/>
            <p:cNvSpPr/>
            <p:nvPr/>
          </p:nvSpPr>
          <p:spPr>
            <a:xfrm>
              <a:off x="400050" y="902368"/>
              <a:ext cx="4171950" cy="354931"/>
            </a:xfrm>
            <a:prstGeom prst="rect">
              <a:avLst/>
            </a:prstGeom>
            <a:gradFill rotWithShape="1">
              <a:gsLst>
                <a:gs pos="0">
                  <a:srgbClr val="8064A2">
                    <a:tint val="100000"/>
                    <a:shade val="100000"/>
                    <a:satMod val="130000"/>
                  </a:srgbClr>
                </a:gs>
                <a:gs pos="100000">
                  <a:srgbClr val="8064A2">
                    <a:tint val="50000"/>
                    <a:shade val="100000"/>
                    <a:satMod val="350000"/>
                  </a:srgbClr>
                </a:gs>
              </a:gsLst>
              <a:lin ang="16200000" scaled="0"/>
            </a:gradFill>
            <a:ln w="9525" cap="flat" cmpd="sng" algn="ctr">
              <a:solidFill>
                <a:srgbClr val="8064A2">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a:defRPr/>
              </a:pPr>
              <a:r>
                <a:rPr lang="en-US" kern="0" dirty="0">
                  <a:solidFill>
                    <a:sysClr val="window" lastClr="FFFFFF"/>
                  </a:solidFill>
                  <a:latin typeface="Calibri"/>
                </a:rPr>
                <a:t>In Scope</a:t>
              </a:r>
            </a:p>
          </p:txBody>
        </p:sp>
        <p:sp>
          <p:nvSpPr>
            <p:cNvPr id="28" name="Rectangle 27"/>
            <p:cNvSpPr/>
            <p:nvPr/>
          </p:nvSpPr>
          <p:spPr>
            <a:xfrm>
              <a:off x="4724400" y="902367"/>
              <a:ext cx="4171950" cy="354931"/>
            </a:xfrm>
            <a:prstGeom prst="rect">
              <a:avLst/>
            </a:prstGeom>
            <a:gradFill rotWithShape="1">
              <a:gsLst>
                <a:gs pos="0">
                  <a:srgbClr val="8064A2">
                    <a:tint val="100000"/>
                    <a:shade val="100000"/>
                    <a:satMod val="130000"/>
                  </a:srgbClr>
                </a:gs>
                <a:gs pos="100000">
                  <a:srgbClr val="8064A2">
                    <a:tint val="50000"/>
                    <a:shade val="100000"/>
                    <a:satMod val="350000"/>
                  </a:srgbClr>
                </a:gs>
              </a:gsLst>
              <a:lin ang="16200000" scaled="0"/>
            </a:gradFill>
            <a:ln w="9525" cap="flat" cmpd="sng" algn="ctr">
              <a:solidFill>
                <a:srgbClr val="8064A2">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a:defRPr/>
              </a:pPr>
              <a:r>
                <a:rPr lang="en-US" kern="0" dirty="0">
                  <a:solidFill>
                    <a:sysClr val="window" lastClr="FFFFFF"/>
                  </a:solidFill>
                  <a:latin typeface="Calibri"/>
                </a:rPr>
                <a:t>Out of Scope</a:t>
              </a:r>
            </a:p>
          </p:txBody>
        </p:sp>
      </p:grpSp>
      <p:sp>
        <p:nvSpPr>
          <p:cNvPr id="2" name="Slide Number Placeholder 1"/>
          <p:cNvSpPr>
            <a:spLocks noGrp="1"/>
          </p:cNvSpPr>
          <p:nvPr>
            <p:ph type="sldNum" sz="quarter" idx="10"/>
          </p:nvPr>
        </p:nvSpPr>
        <p:spPr/>
        <p:txBody>
          <a:bodyPr/>
          <a:lstStyle/>
          <a:p>
            <a:pPr defTabSz="455621" fontAlgn="base">
              <a:spcBef>
                <a:spcPct val="0"/>
              </a:spcBef>
              <a:spcAft>
                <a:spcPct val="0"/>
              </a:spcAft>
              <a:defRPr/>
            </a:pPr>
            <a:fld id="{5276565E-5A9B-4B05-83C2-0CC7C2C924A0}" type="slidenum">
              <a:rPr lang="en-US" smtClean="0">
                <a:solidFill>
                  <a:prstClr val="black"/>
                </a:solidFill>
                <a:ea typeface="ＭＳ Ｐゴシック" pitchFamily="34" charset="-128"/>
              </a:rPr>
              <a:pPr defTabSz="455621" fontAlgn="base">
                <a:spcBef>
                  <a:spcPct val="0"/>
                </a:spcBef>
                <a:spcAft>
                  <a:spcPct val="0"/>
                </a:spcAft>
                <a:defRPr/>
              </a:pPr>
              <a:t>5</a:t>
            </a:fld>
            <a:endParaRPr lang="en-US" dirty="0">
              <a:solidFill>
                <a:prstClr val="black"/>
              </a:solidFill>
              <a:ea typeface="ＭＳ Ｐゴシック" pitchFamily="34" charset="-128"/>
            </a:endParaRPr>
          </a:p>
        </p:txBody>
      </p:sp>
    </p:spTree>
    <p:extLst>
      <p:ext uri="{BB962C8B-B14F-4D97-AF65-F5344CB8AC3E}">
        <p14:creationId xmlns:p14="http://schemas.microsoft.com/office/powerpoint/2010/main" val="309765417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3"/>
          <p:cNvSpPr>
            <a:spLocks noGrp="1" noChangeArrowheads="1"/>
          </p:cNvSpPr>
          <p:nvPr>
            <p:ph type="title"/>
          </p:nvPr>
        </p:nvSpPr>
        <p:spPr>
          <a:xfrm>
            <a:off x="731520" y="182880"/>
            <a:ext cx="8720504" cy="697832"/>
          </a:xfrm>
        </p:spPr>
        <p:txBody>
          <a:bodyPr vert="horz" lIns="87248" tIns="43624" rIns="87248" bIns="43624" rtlCol="0" anchor="ctr">
            <a:normAutofit/>
          </a:bodyPr>
          <a:lstStyle/>
          <a:p>
            <a:pPr algn="l" eaLnBrk="1" hangingPunct="1"/>
            <a:r>
              <a:rPr lang="en-US" dirty="0"/>
              <a:t>4. Governance/RACI Matrix – David </a:t>
            </a:r>
          </a:p>
        </p:txBody>
      </p:sp>
      <p:grpSp>
        <p:nvGrpSpPr>
          <p:cNvPr id="4" name="Group 3"/>
          <p:cNvGrpSpPr/>
          <p:nvPr/>
        </p:nvGrpSpPr>
        <p:grpSpPr>
          <a:xfrm>
            <a:off x="731520" y="1097280"/>
            <a:ext cx="5364480" cy="4740439"/>
            <a:chOff x="838200" y="1066800"/>
            <a:chExt cx="3782839" cy="4740439"/>
          </a:xfrm>
        </p:grpSpPr>
        <p:sp>
          <p:nvSpPr>
            <p:cNvPr id="35" name="Rectangle 34"/>
            <p:cNvSpPr/>
            <p:nvPr/>
          </p:nvSpPr>
          <p:spPr>
            <a:xfrm>
              <a:off x="838200" y="1554058"/>
              <a:ext cx="3782839" cy="4253181"/>
            </a:xfrm>
            <a:prstGeom prst="rect">
              <a:avLst/>
            </a:prstGeom>
            <a:solidFill>
              <a:sysClr val="window" lastClr="FFFFFF"/>
            </a:solidFill>
            <a:ln w="25400" cap="flat" cmpd="sng" algn="ctr">
              <a:solidFill>
                <a:srgbClr val="8064A2"/>
              </a:solidFill>
              <a:prstDash val="solid"/>
            </a:ln>
            <a:effectLst/>
          </p:spPr>
          <p:txBody>
            <a:bodyPr rtlCol="0" anchor="ctr"/>
            <a:lstStyle/>
            <a:p>
              <a:pPr lvl="0">
                <a:lnSpc>
                  <a:spcPct val="90000"/>
                </a:lnSpc>
                <a:defRPr/>
              </a:pPr>
              <a:r>
                <a:rPr lang="en-US" sz="1600" kern="0" dirty="0">
                  <a:solidFill>
                    <a:sysClr val="windowText" lastClr="000000"/>
                  </a:solidFill>
                  <a:latin typeface="Calibri"/>
                  <a:sym typeface="Wingdings" pitchFamily="2" charset="2"/>
                </a:rPr>
                <a:t>Project Sponsor – </a:t>
              </a:r>
            </a:p>
            <a:p>
              <a:pPr lvl="0">
                <a:lnSpc>
                  <a:spcPct val="90000"/>
                </a:lnSpc>
                <a:defRPr/>
              </a:pPr>
              <a:r>
                <a:rPr lang="en-US" sz="1600" kern="0" dirty="0">
                  <a:solidFill>
                    <a:sysClr val="windowText" lastClr="000000"/>
                  </a:solidFill>
                  <a:latin typeface="Calibri"/>
                  <a:sym typeface="Wingdings" pitchFamily="2" charset="2"/>
                </a:rPr>
                <a:t>SFDC Steering Committee will be the governing body of the Program. </a:t>
              </a:r>
            </a:p>
            <a:p>
              <a:pPr lvl="0">
                <a:lnSpc>
                  <a:spcPct val="90000"/>
                </a:lnSpc>
                <a:defRPr/>
              </a:pPr>
              <a:endParaRPr lang="en-US" sz="1600" kern="0" dirty="0">
                <a:solidFill>
                  <a:sysClr val="windowText" lastClr="000000"/>
                </a:solidFill>
                <a:latin typeface="Calibri"/>
                <a:sym typeface="Wingdings" pitchFamily="2" charset="2"/>
              </a:endParaRPr>
            </a:p>
            <a:p>
              <a:pPr lvl="0">
                <a:lnSpc>
                  <a:spcPct val="90000"/>
                </a:lnSpc>
                <a:defRPr/>
              </a:pPr>
              <a:endParaRPr lang="en-US" sz="1600" kern="0" dirty="0">
                <a:solidFill>
                  <a:sysClr val="windowText" lastClr="000000"/>
                </a:solidFill>
                <a:latin typeface="Calibri"/>
                <a:sym typeface="Wingdings" pitchFamily="2" charset="2"/>
              </a:endParaRPr>
            </a:p>
            <a:p>
              <a:pPr lvl="0">
                <a:lnSpc>
                  <a:spcPct val="90000"/>
                </a:lnSpc>
                <a:defRPr/>
              </a:pPr>
              <a:r>
                <a:rPr lang="en-US" sz="1600" kern="0" dirty="0">
                  <a:solidFill>
                    <a:sysClr val="windowText" lastClr="000000"/>
                  </a:solidFill>
                  <a:latin typeface="Calibri"/>
                  <a:sym typeface="Wingdings" pitchFamily="2" charset="2"/>
                </a:rPr>
                <a:t>MDLZ Project Team &amp; 3rd Party Vendors will be the planning &amp; execution arm of the project and mainly responsible for implementing the Project plan within defined time, scope &amp; cost.</a:t>
              </a:r>
            </a:p>
            <a:p>
              <a:pPr lvl="0">
                <a:lnSpc>
                  <a:spcPct val="90000"/>
                </a:lnSpc>
                <a:defRPr/>
              </a:pPr>
              <a:endParaRPr lang="en-US" sz="1600" kern="0" dirty="0">
                <a:solidFill>
                  <a:sysClr val="windowText" lastClr="000000"/>
                </a:solidFill>
                <a:latin typeface="Calibri"/>
                <a:sym typeface="Wingdings" pitchFamily="2" charset="2"/>
              </a:endParaRPr>
            </a:p>
          </p:txBody>
        </p:sp>
        <p:sp>
          <p:nvSpPr>
            <p:cNvPr id="36" name="Rectangle 35"/>
            <p:cNvSpPr/>
            <p:nvPr/>
          </p:nvSpPr>
          <p:spPr>
            <a:xfrm>
              <a:off x="838200" y="1066800"/>
              <a:ext cx="3782839" cy="487257"/>
            </a:xfrm>
            <a:prstGeom prst="rect">
              <a:avLst/>
            </a:prstGeom>
            <a:gradFill rotWithShape="1">
              <a:gsLst>
                <a:gs pos="0">
                  <a:srgbClr val="8064A2">
                    <a:tint val="100000"/>
                    <a:shade val="100000"/>
                    <a:satMod val="130000"/>
                  </a:srgbClr>
                </a:gs>
                <a:gs pos="100000">
                  <a:srgbClr val="8064A2">
                    <a:tint val="50000"/>
                    <a:shade val="100000"/>
                    <a:satMod val="350000"/>
                  </a:srgbClr>
                </a:gs>
              </a:gsLst>
              <a:lin ang="16200000" scaled="0"/>
            </a:gradFill>
            <a:ln w="9525" cap="flat" cmpd="sng" algn="ctr">
              <a:solidFill>
                <a:srgbClr val="8064A2">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a:defRPr/>
              </a:pPr>
              <a:r>
                <a:rPr lang="en-US" kern="0" dirty="0">
                  <a:solidFill>
                    <a:sysClr val="window" lastClr="FFFFFF"/>
                  </a:solidFill>
                  <a:latin typeface="Calibri"/>
                </a:rPr>
                <a:t>Governance</a:t>
              </a:r>
            </a:p>
          </p:txBody>
        </p:sp>
      </p:grpSp>
      <p:graphicFrame>
        <p:nvGraphicFramePr>
          <p:cNvPr id="38" name="Table 37"/>
          <p:cNvGraphicFramePr>
            <a:graphicFrameLocks noGrp="1"/>
          </p:cNvGraphicFramePr>
          <p:nvPr>
            <p:extLst>
              <p:ext uri="{D42A27DB-BD31-4B8C-83A1-F6EECF244321}">
                <p14:modId xmlns:p14="http://schemas.microsoft.com/office/powerpoint/2010/main" val="2254807162"/>
              </p:ext>
            </p:extLst>
          </p:nvPr>
        </p:nvGraphicFramePr>
        <p:xfrm>
          <a:off x="6248400" y="3412913"/>
          <a:ext cx="5029199" cy="2424806"/>
        </p:xfrm>
        <a:graphic>
          <a:graphicData uri="http://schemas.openxmlformats.org/drawingml/2006/table">
            <a:tbl>
              <a:tblPr firstRow="1" bandRow="1"/>
              <a:tblGrid>
                <a:gridCol w="1066800">
                  <a:extLst>
                    <a:ext uri="{9D8B030D-6E8A-4147-A177-3AD203B41FA5}">
                      <a16:colId xmlns:a16="http://schemas.microsoft.com/office/drawing/2014/main" val="20000"/>
                    </a:ext>
                  </a:extLst>
                </a:gridCol>
                <a:gridCol w="623866">
                  <a:extLst>
                    <a:ext uri="{9D8B030D-6E8A-4147-A177-3AD203B41FA5}">
                      <a16:colId xmlns:a16="http://schemas.microsoft.com/office/drawing/2014/main" val="20001"/>
                    </a:ext>
                  </a:extLst>
                </a:gridCol>
                <a:gridCol w="738330">
                  <a:extLst>
                    <a:ext uri="{9D8B030D-6E8A-4147-A177-3AD203B41FA5}">
                      <a16:colId xmlns:a16="http://schemas.microsoft.com/office/drawing/2014/main" val="20002"/>
                    </a:ext>
                  </a:extLst>
                </a:gridCol>
                <a:gridCol w="802532">
                  <a:extLst>
                    <a:ext uri="{9D8B030D-6E8A-4147-A177-3AD203B41FA5}">
                      <a16:colId xmlns:a16="http://schemas.microsoft.com/office/drawing/2014/main" val="20003"/>
                    </a:ext>
                  </a:extLst>
                </a:gridCol>
                <a:gridCol w="898835">
                  <a:extLst>
                    <a:ext uri="{9D8B030D-6E8A-4147-A177-3AD203B41FA5}">
                      <a16:colId xmlns:a16="http://schemas.microsoft.com/office/drawing/2014/main" val="20004"/>
                    </a:ext>
                  </a:extLst>
                </a:gridCol>
                <a:gridCol w="898836">
                  <a:extLst>
                    <a:ext uri="{9D8B030D-6E8A-4147-A177-3AD203B41FA5}">
                      <a16:colId xmlns:a16="http://schemas.microsoft.com/office/drawing/2014/main" val="20005"/>
                    </a:ext>
                  </a:extLst>
                </a:gridCol>
              </a:tblGrid>
              <a:tr h="852985">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r>
                        <a:rPr lang="en-US" sz="1100" noProof="0" dirty="0"/>
                        <a:t>Activity/</a:t>
                      </a:r>
                    </a:p>
                    <a:p>
                      <a:r>
                        <a:rPr lang="en-US" sz="1100" noProof="0" dirty="0"/>
                        <a:t>Work Stream</a:t>
                      </a: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r>
                        <a:rPr lang="en-US" sz="1100" noProof="0" dirty="0"/>
                        <a:t>WS Lead</a:t>
                      </a: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r>
                        <a:rPr lang="en-US" sz="1100" noProof="0" dirty="0"/>
                        <a:t>R</a:t>
                      </a: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r>
                        <a:rPr lang="en-US" sz="1100" noProof="0" dirty="0"/>
                        <a:t>A</a:t>
                      </a: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r>
                        <a:rPr lang="en-US" sz="1100" noProof="0" dirty="0"/>
                        <a:t>C</a:t>
                      </a: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r>
                        <a:rPr lang="en-US" sz="1100" noProof="0" dirty="0"/>
                        <a:t>I</a:t>
                      </a: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solidFill>
                  </a:tcPr>
                </a:tc>
                <a:extLst>
                  <a:ext uri="{0D108BD9-81ED-4DB2-BD59-A6C34878D82A}">
                    <a16:rowId xmlns:a16="http://schemas.microsoft.com/office/drawing/2014/main" val="10000"/>
                  </a:ext>
                </a:extLst>
              </a:tr>
              <a:tr h="417354">
                <a:tc>
                  <a:txBody>
                    <a:bodyPr/>
                    <a:lstStyle/>
                    <a:p>
                      <a:pPr algn="ctr" fontAlgn="ctr"/>
                      <a:endParaRPr lang="en-US" sz="800" b="0" i="0" u="none" strike="noStrike" noProof="0" dirty="0">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p>
                      <a:pPr algn="ctr" fontAlgn="ctr"/>
                      <a:endParaRPr lang="en-US" sz="800" b="0" i="0" u="none" strike="noStrike" noProof="0" dirty="0">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p>
                      <a:pPr algn="ctr" fontAlgn="ctr"/>
                      <a:endParaRPr lang="en-US" sz="800" b="0" i="0" u="none" strike="noStrike" noProof="0" dirty="0">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p>
                      <a:pPr algn="ctr" fontAlgn="ctr"/>
                      <a:endParaRPr lang="en-US" sz="800" b="0" i="0" u="none" strike="noStrike" noProof="0" dirty="0">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p>
                      <a:pPr algn="ctr" fontAlgn="ctr"/>
                      <a:endParaRPr lang="en-US" sz="600" b="0" i="0" u="none" strike="noStrike" noProof="0" dirty="0">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p>
                      <a:pPr algn="ctr" fontAlgn="ctr"/>
                      <a:endParaRPr lang="en-US" sz="800" b="0" i="0" u="none" strike="noStrike" noProof="0" dirty="0">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extLst>
                  <a:ext uri="{0D108BD9-81ED-4DB2-BD59-A6C34878D82A}">
                    <a16:rowId xmlns:a16="http://schemas.microsoft.com/office/drawing/2014/main" val="10001"/>
                  </a:ext>
                </a:extLst>
              </a:tr>
              <a:tr h="357562">
                <a:tc>
                  <a:txBody>
                    <a:bodyPr/>
                    <a:lstStyle/>
                    <a:p>
                      <a:pPr algn="ctr" fontAlgn="ctr"/>
                      <a:endParaRPr lang="en-US" sz="800" b="0" i="0" u="none" strike="noStrike" noProof="0" dirty="0">
                        <a:effectLst/>
                        <a:latin typeface="Calibri" panose="020F0502020204030204" pitchFamily="34" charset="0"/>
                      </a:endParaRP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p>
                      <a:pPr algn="ctr" fontAlgn="ctr"/>
                      <a:endParaRPr lang="en-US" sz="800" b="0" i="0" u="none" strike="noStrike" noProof="0" dirty="0">
                        <a:effectLst/>
                        <a:latin typeface="Calibri" panose="020F0502020204030204" pitchFamily="34" charset="0"/>
                      </a:endParaRP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p>
                      <a:pPr algn="ctr" fontAlgn="ctr"/>
                      <a:endParaRPr lang="en-US" sz="800" b="0" i="0" u="none" strike="noStrike" noProof="0" dirty="0">
                        <a:effectLst/>
                        <a:latin typeface="Calibri" panose="020F0502020204030204" pitchFamily="34" charset="0"/>
                      </a:endParaRP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p>
                      <a:pPr algn="ctr" fontAlgn="ctr"/>
                      <a:endParaRPr lang="en-US" sz="800" b="0" i="0" u="none" strike="noStrike" noProof="0" dirty="0">
                        <a:effectLst/>
                        <a:latin typeface="Calibri" panose="020F0502020204030204" pitchFamily="34" charset="0"/>
                      </a:endParaRP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p>
                      <a:pPr algn="ctr" fontAlgn="ctr"/>
                      <a:endParaRPr lang="en-US" sz="600" b="0" i="0" u="none" strike="noStrike" noProof="0" dirty="0">
                        <a:effectLst/>
                        <a:latin typeface="Calibri" panose="020F0502020204030204" pitchFamily="34" charset="0"/>
                      </a:endParaRP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p>
                      <a:pPr algn="ctr" fontAlgn="ctr"/>
                      <a:endParaRPr lang="en-US" sz="800" b="0" i="0" u="none" strike="noStrike" noProof="0" dirty="0">
                        <a:effectLst/>
                        <a:latin typeface="Calibri" panose="020F0502020204030204" pitchFamily="34" charset="0"/>
                      </a:endParaRPr>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0002"/>
                  </a:ext>
                </a:extLst>
              </a:tr>
              <a:tr h="449758">
                <a:tc>
                  <a:txBody>
                    <a:bodyPr/>
                    <a:lstStyle/>
                    <a:p>
                      <a:pPr algn="ctr" fontAlgn="ctr"/>
                      <a:endParaRPr lang="en-US" sz="800" b="0" i="0" u="none" strike="noStrike" noProof="0" dirty="0">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p>
                      <a:pPr algn="ctr" fontAlgn="ctr"/>
                      <a:endParaRPr lang="en-US" sz="800" b="0" i="0" u="none" strike="noStrike" noProof="0" dirty="0">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p>
                      <a:pPr algn="ctr" fontAlgn="ctr"/>
                      <a:endParaRPr lang="en-US" sz="800" b="0" i="0" u="none" strike="noStrike" noProof="0" dirty="0">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p>
                      <a:pPr algn="ctr" fontAlgn="ctr"/>
                      <a:endParaRPr lang="en-US" sz="800" b="0" i="0" u="none" strike="noStrike" noProof="0" dirty="0">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p>
                      <a:pPr algn="ctr" fontAlgn="ctr"/>
                      <a:endParaRPr lang="en-US" sz="600" b="0" i="0" u="none" strike="noStrike" noProof="0" dirty="0">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p>
                      <a:pPr algn="ctr" fontAlgn="ctr"/>
                      <a:endParaRPr lang="en-US" sz="800" b="0" i="0" u="none" strike="noStrike" noProof="0" dirty="0">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extLst>
                  <a:ext uri="{0D108BD9-81ED-4DB2-BD59-A6C34878D82A}">
                    <a16:rowId xmlns:a16="http://schemas.microsoft.com/office/drawing/2014/main" val="10003"/>
                  </a:ext>
                </a:extLst>
              </a:tr>
              <a:tr h="347147">
                <a:tc>
                  <a:txBody>
                    <a:bodyPr/>
                    <a:lstStyle/>
                    <a:p>
                      <a:pPr algn="ctr" fontAlgn="ctr"/>
                      <a:endParaRPr lang="en-US" sz="800" b="0" i="0" u="none" strike="noStrike" noProof="0" dirty="0">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p>
                      <a:pPr algn="ctr" fontAlgn="ctr"/>
                      <a:endParaRPr lang="en-US" sz="800" b="0" i="0" u="none" strike="noStrike" noProof="0" dirty="0">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p>
                      <a:pPr algn="ctr" fontAlgn="ctr"/>
                      <a:endParaRPr lang="en-US" sz="800" b="0" i="0" u="none" strike="noStrike" noProof="0" dirty="0">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p>
                      <a:pPr algn="ctr" fontAlgn="ctr"/>
                      <a:endParaRPr lang="en-US" sz="800" b="0" i="0" u="none" strike="noStrike" noProof="0" dirty="0">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p>
                      <a:pPr algn="ctr" fontAlgn="ctr"/>
                      <a:endParaRPr lang="en-US" sz="600" b="0" i="0" u="none" strike="noStrike" noProof="0" dirty="0">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p>
                      <a:pPr algn="ctr" fontAlgn="ctr"/>
                      <a:endParaRPr lang="en-US" sz="800" b="0" i="0" u="none" strike="noStrike" noProof="0" dirty="0">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0004"/>
                  </a:ext>
                </a:extLst>
              </a:tr>
            </a:tbl>
          </a:graphicData>
        </a:graphic>
      </p:graphicFrame>
      <p:graphicFrame>
        <p:nvGraphicFramePr>
          <p:cNvPr id="39" name="Table 38"/>
          <p:cNvGraphicFramePr>
            <a:graphicFrameLocks noGrp="1"/>
          </p:cNvGraphicFramePr>
          <p:nvPr>
            <p:extLst>
              <p:ext uri="{D42A27DB-BD31-4B8C-83A1-F6EECF244321}">
                <p14:modId xmlns:p14="http://schemas.microsoft.com/office/powerpoint/2010/main" val="1543599762"/>
              </p:ext>
            </p:extLst>
          </p:nvPr>
        </p:nvGraphicFramePr>
        <p:xfrm>
          <a:off x="6252258" y="1733206"/>
          <a:ext cx="5025342" cy="1533235"/>
        </p:xfrm>
        <a:graphic>
          <a:graphicData uri="http://schemas.openxmlformats.org/drawingml/2006/table">
            <a:tbl>
              <a:tblPr firstRow="1" bandRow="1"/>
              <a:tblGrid>
                <a:gridCol w="1000188">
                  <a:extLst>
                    <a:ext uri="{9D8B030D-6E8A-4147-A177-3AD203B41FA5}">
                      <a16:colId xmlns:a16="http://schemas.microsoft.com/office/drawing/2014/main" val="20000"/>
                    </a:ext>
                  </a:extLst>
                </a:gridCol>
                <a:gridCol w="4025154">
                  <a:extLst>
                    <a:ext uri="{9D8B030D-6E8A-4147-A177-3AD203B41FA5}">
                      <a16:colId xmlns:a16="http://schemas.microsoft.com/office/drawing/2014/main" val="20001"/>
                    </a:ext>
                  </a:extLst>
                </a:gridCol>
              </a:tblGrid>
              <a:tr h="0">
                <a:tc gridSpan="2">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r>
                        <a:rPr lang="en-US" sz="1100" dirty="0"/>
                        <a:t>Key</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064A2"/>
                    </a:solidFill>
                  </a:tcPr>
                </a:tc>
                <a:tc hMerge="1">
                  <a:txBody>
                    <a:bodyPr/>
                    <a:lstStyle/>
                    <a:p>
                      <a:endParaRPr lang="en-US" sz="1400" dirty="0"/>
                    </a:p>
                  </a:txBody>
                  <a:tcPr/>
                </a:tc>
                <a:extLst>
                  <a:ext uri="{0D108BD9-81ED-4DB2-BD59-A6C34878D82A}">
                    <a16:rowId xmlns:a16="http://schemas.microsoft.com/office/drawing/2014/main" val="10000"/>
                  </a:ext>
                </a:extLst>
              </a:tr>
              <a:tr h="322118">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100" dirty="0"/>
                        <a:t>Responsible</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0" marR="0" indent="0" algn="l" defTabSz="456888" rtl="0" eaLnBrk="1" fontAlgn="auto" latinLnBrk="0" hangingPunct="1">
                        <a:lnSpc>
                          <a:spcPct val="100000"/>
                        </a:lnSpc>
                        <a:spcBef>
                          <a:spcPts val="0"/>
                        </a:spcBef>
                        <a:spcAft>
                          <a:spcPts val="0"/>
                        </a:spcAft>
                        <a:buClrTx/>
                        <a:buSzTx/>
                        <a:buFontTx/>
                        <a:buNone/>
                        <a:tabLst/>
                        <a:defRPr/>
                      </a:pPr>
                      <a:r>
                        <a:rPr lang="en-US" sz="1100" u="none" strike="noStrike" dirty="0">
                          <a:effectLst/>
                        </a:rPr>
                        <a:t>Owns the problem/Project</a:t>
                      </a:r>
                      <a:endParaRPr lang="en-US" sz="1100"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extLst>
                  <a:ext uri="{0D108BD9-81ED-4DB2-BD59-A6C34878D82A}">
                    <a16:rowId xmlns:a16="http://schemas.microsoft.com/office/drawing/2014/main" val="10001"/>
                  </a:ext>
                </a:extLst>
              </a:tr>
              <a:tr h="204815">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100" dirty="0"/>
                        <a:t>Accountable</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0" marR="0" indent="0" algn="l" defTabSz="456888" rtl="0" eaLnBrk="1" fontAlgn="auto" latinLnBrk="0" hangingPunct="1">
                        <a:lnSpc>
                          <a:spcPct val="100000"/>
                        </a:lnSpc>
                        <a:spcBef>
                          <a:spcPts val="0"/>
                        </a:spcBef>
                        <a:spcAft>
                          <a:spcPts val="0"/>
                        </a:spcAft>
                        <a:buClrTx/>
                        <a:buSzTx/>
                        <a:buFontTx/>
                        <a:buNone/>
                        <a:tabLst/>
                        <a:defRPr/>
                      </a:pPr>
                      <a:r>
                        <a:rPr lang="en-US" sz="1100" u="none" strike="noStrike" dirty="0">
                          <a:effectLst/>
                        </a:rPr>
                        <a:t>Who must sign off/Approve on work before it is effective</a:t>
                      </a:r>
                      <a:endParaRPr lang="en-US" sz="11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0002"/>
                  </a:ext>
                </a:extLst>
              </a:tr>
              <a:tr h="228137">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100" dirty="0"/>
                        <a:t>Consulted</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100" u="none" strike="noStrike" dirty="0">
                          <a:effectLst/>
                        </a:rPr>
                        <a:t>Actively consulted during decision making and has Information and/or capability necessary to complete the work </a:t>
                      </a:r>
                      <a:endParaRPr lang="en-US" sz="11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extLst>
                  <a:ext uri="{0D108BD9-81ED-4DB2-BD59-A6C34878D82A}">
                    <a16:rowId xmlns:a16="http://schemas.microsoft.com/office/drawing/2014/main" val="10003"/>
                  </a:ext>
                </a:extLst>
              </a:tr>
              <a:tr h="266237">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100" dirty="0"/>
                        <a:t>Informed</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0" marR="0" indent="0" algn="l" defTabSz="456888" rtl="0" eaLnBrk="1" fontAlgn="auto" latinLnBrk="0" hangingPunct="1">
                        <a:lnSpc>
                          <a:spcPct val="100000"/>
                        </a:lnSpc>
                        <a:spcBef>
                          <a:spcPts val="0"/>
                        </a:spcBef>
                        <a:spcAft>
                          <a:spcPts val="0"/>
                        </a:spcAft>
                        <a:buClrTx/>
                        <a:buSzTx/>
                        <a:buFontTx/>
                        <a:buNone/>
                        <a:tabLst/>
                        <a:defRPr/>
                      </a:pPr>
                      <a:r>
                        <a:rPr lang="en-US" sz="1100" u="none" strike="noStrike" dirty="0">
                          <a:effectLst/>
                        </a:rPr>
                        <a:t>Must be notified of Results, but need Not be consulted</a:t>
                      </a:r>
                      <a:endParaRPr lang="en-US" sz="11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0004"/>
                  </a:ext>
                </a:extLst>
              </a:tr>
            </a:tbl>
          </a:graphicData>
        </a:graphic>
      </p:graphicFrame>
      <p:sp>
        <p:nvSpPr>
          <p:cNvPr id="40" name="Rectangle 39"/>
          <p:cNvSpPr/>
          <p:nvPr/>
        </p:nvSpPr>
        <p:spPr>
          <a:xfrm>
            <a:off x="6248400" y="1096234"/>
            <a:ext cx="5029200" cy="498764"/>
          </a:xfrm>
          <a:prstGeom prst="rect">
            <a:avLst/>
          </a:prstGeom>
          <a:gradFill rotWithShape="1">
            <a:gsLst>
              <a:gs pos="0">
                <a:srgbClr val="8064A2">
                  <a:tint val="100000"/>
                  <a:shade val="100000"/>
                  <a:satMod val="130000"/>
                </a:srgbClr>
              </a:gs>
              <a:gs pos="100000">
                <a:srgbClr val="8064A2">
                  <a:tint val="50000"/>
                  <a:shade val="100000"/>
                  <a:satMod val="350000"/>
                </a:srgbClr>
              </a:gs>
            </a:gsLst>
            <a:lin ang="16200000" scaled="0"/>
          </a:gradFill>
          <a:ln w="9525" cap="flat" cmpd="sng" algn="ctr">
            <a:solidFill>
              <a:srgbClr val="8064A2">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a:defRPr/>
            </a:pPr>
            <a:r>
              <a:rPr lang="en-US" kern="0" dirty="0">
                <a:solidFill>
                  <a:sysClr val="window" lastClr="FFFFFF"/>
                </a:solidFill>
                <a:latin typeface="Calibri"/>
              </a:rPr>
              <a:t>RACI Matrix</a:t>
            </a:r>
          </a:p>
        </p:txBody>
      </p:sp>
      <p:sp>
        <p:nvSpPr>
          <p:cNvPr id="2" name="Slide Number Placeholder 1"/>
          <p:cNvSpPr>
            <a:spLocks noGrp="1"/>
          </p:cNvSpPr>
          <p:nvPr>
            <p:ph type="sldNum" sz="quarter" idx="10"/>
          </p:nvPr>
        </p:nvSpPr>
        <p:spPr/>
        <p:txBody>
          <a:bodyPr/>
          <a:lstStyle/>
          <a:p>
            <a:pPr defTabSz="455621" fontAlgn="base">
              <a:spcBef>
                <a:spcPct val="0"/>
              </a:spcBef>
              <a:spcAft>
                <a:spcPct val="0"/>
              </a:spcAft>
              <a:defRPr/>
            </a:pPr>
            <a:fld id="{5276565E-5A9B-4B05-83C2-0CC7C2C924A0}" type="slidenum">
              <a:rPr lang="en-US" smtClean="0">
                <a:solidFill>
                  <a:prstClr val="black"/>
                </a:solidFill>
                <a:ea typeface="ＭＳ Ｐゴシック" pitchFamily="34" charset="-128"/>
              </a:rPr>
              <a:pPr defTabSz="455621" fontAlgn="base">
                <a:spcBef>
                  <a:spcPct val="0"/>
                </a:spcBef>
                <a:spcAft>
                  <a:spcPct val="0"/>
                </a:spcAft>
                <a:defRPr/>
              </a:pPr>
              <a:t>6</a:t>
            </a:fld>
            <a:endParaRPr lang="en-US" dirty="0">
              <a:solidFill>
                <a:prstClr val="black"/>
              </a:solidFill>
              <a:ea typeface="ＭＳ Ｐゴシック" pitchFamily="34" charset="-128"/>
            </a:endParaRPr>
          </a:p>
        </p:txBody>
      </p:sp>
    </p:spTree>
    <p:extLst>
      <p:ext uri="{BB962C8B-B14F-4D97-AF65-F5344CB8AC3E}">
        <p14:creationId xmlns:p14="http://schemas.microsoft.com/office/powerpoint/2010/main" val="198247851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3"/>
          <p:cNvSpPr>
            <a:spLocks noGrp="1" noChangeArrowheads="1"/>
          </p:cNvSpPr>
          <p:nvPr>
            <p:ph type="title"/>
          </p:nvPr>
        </p:nvSpPr>
        <p:spPr>
          <a:xfrm>
            <a:off x="731520" y="182880"/>
            <a:ext cx="8720504" cy="697832"/>
          </a:xfrm>
          <a:prstGeom prst="rect">
            <a:avLst/>
          </a:prstGeom>
        </p:spPr>
        <p:txBody>
          <a:bodyPr vert="horz" lIns="87248" tIns="43624" rIns="87248" bIns="43624" rtlCol="0" anchor="ctr">
            <a:normAutofit/>
          </a:bodyPr>
          <a:lstStyle/>
          <a:p>
            <a:pPr defTabSz="914400" fontAlgn="auto">
              <a:spcBef>
                <a:spcPts val="0"/>
              </a:spcBef>
              <a:spcAft>
                <a:spcPts val="0"/>
              </a:spcAft>
              <a:defRPr/>
            </a:pPr>
            <a:r>
              <a:rPr lang="en-US" kern="0" dirty="0"/>
              <a:t>6. Team Structure &amp; Responsibilities – Pete  </a:t>
            </a:r>
          </a:p>
        </p:txBody>
      </p:sp>
      <p:graphicFrame>
        <p:nvGraphicFramePr>
          <p:cNvPr id="13" name="Table 12"/>
          <p:cNvGraphicFramePr>
            <a:graphicFrameLocks noGrp="1"/>
          </p:cNvGraphicFramePr>
          <p:nvPr>
            <p:extLst>
              <p:ext uri="{D42A27DB-BD31-4B8C-83A1-F6EECF244321}">
                <p14:modId xmlns:p14="http://schemas.microsoft.com/office/powerpoint/2010/main" val="3471414499"/>
              </p:ext>
            </p:extLst>
          </p:nvPr>
        </p:nvGraphicFramePr>
        <p:xfrm>
          <a:off x="533401" y="838201"/>
          <a:ext cx="10947400" cy="5446320"/>
        </p:xfrm>
        <a:graphic>
          <a:graphicData uri="http://schemas.openxmlformats.org/drawingml/2006/table">
            <a:tbl>
              <a:tblPr firstRow="1" bandRow="1"/>
              <a:tblGrid>
                <a:gridCol w="1175732">
                  <a:extLst>
                    <a:ext uri="{9D8B030D-6E8A-4147-A177-3AD203B41FA5}">
                      <a16:colId xmlns:a16="http://schemas.microsoft.com/office/drawing/2014/main" val="20000"/>
                    </a:ext>
                  </a:extLst>
                </a:gridCol>
                <a:gridCol w="2586618">
                  <a:extLst>
                    <a:ext uri="{9D8B030D-6E8A-4147-A177-3AD203B41FA5}">
                      <a16:colId xmlns:a16="http://schemas.microsoft.com/office/drawing/2014/main" val="20001"/>
                    </a:ext>
                  </a:extLst>
                </a:gridCol>
                <a:gridCol w="3370442">
                  <a:extLst>
                    <a:ext uri="{9D8B030D-6E8A-4147-A177-3AD203B41FA5}">
                      <a16:colId xmlns:a16="http://schemas.microsoft.com/office/drawing/2014/main" val="20002"/>
                    </a:ext>
                  </a:extLst>
                </a:gridCol>
                <a:gridCol w="3814608">
                  <a:extLst>
                    <a:ext uri="{9D8B030D-6E8A-4147-A177-3AD203B41FA5}">
                      <a16:colId xmlns:a16="http://schemas.microsoft.com/office/drawing/2014/main" val="20003"/>
                    </a:ext>
                  </a:extLst>
                </a:gridCol>
              </a:tblGrid>
              <a:tr h="289609">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r>
                        <a:rPr lang="en-US" sz="1400" noProof="0" dirty="0"/>
                        <a:t>Team</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064A2"/>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r>
                        <a:rPr lang="en-US" sz="1400" noProof="0" dirty="0"/>
                        <a:t>Name</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064A2"/>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r>
                        <a:rPr lang="en-US" sz="1400" noProof="0" dirty="0"/>
                        <a:t>Role</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064A2"/>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r>
                        <a:rPr lang="en-US" sz="1400" noProof="0" dirty="0"/>
                        <a:t>Responsibility</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064A2"/>
                    </a:solidFill>
                  </a:tcPr>
                </a:tc>
                <a:extLst>
                  <a:ext uri="{0D108BD9-81ED-4DB2-BD59-A6C34878D82A}">
                    <a16:rowId xmlns:a16="http://schemas.microsoft.com/office/drawing/2014/main" val="10000"/>
                  </a:ext>
                </a:extLst>
              </a:tr>
              <a:tr h="27352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000" noProof="0" dirty="0"/>
                        <a:t>MDLZ</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000" noProof="0" dirty="0"/>
                        <a:t>Thiago</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0" marR="0" lvl="2" indent="0" algn="l" defTabSz="456888" rtl="0" eaLnBrk="1" fontAlgn="auto" latinLnBrk="0" hangingPunct="1">
                        <a:lnSpc>
                          <a:spcPct val="100000"/>
                        </a:lnSpc>
                        <a:spcBef>
                          <a:spcPts val="0"/>
                        </a:spcBef>
                        <a:spcAft>
                          <a:spcPts val="0"/>
                        </a:spcAft>
                        <a:buClrTx/>
                        <a:buSzTx/>
                        <a:buFontTx/>
                        <a:buNone/>
                        <a:tabLst/>
                        <a:defRPr/>
                      </a:pPr>
                      <a:r>
                        <a:rPr lang="tr-TR" sz="1000" i="0" noProof="0" dirty="0">
                          <a:latin typeface="+mn-lt"/>
                        </a:rPr>
                        <a:t>Project Sponsor</a:t>
                      </a:r>
                      <a:endParaRPr lang="en-US" sz="1000" i="0" noProof="0" dirty="0">
                        <a:latin typeface="+mn-lt"/>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800" noProof="0" dirty="0"/>
                        <a:t>Escalation contact, main/final</a:t>
                      </a:r>
                      <a:r>
                        <a:rPr lang="en-US" sz="800" baseline="0" noProof="0" dirty="0"/>
                        <a:t> decision maker</a:t>
                      </a:r>
                      <a:endParaRPr lang="en-US" sz="800" noProof="0"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extLst>
                  <a:ext uri="{0D108BD9-81ED-4DB2-BD59-A6C34878D82A}">
                    <a16:rowId xmlns:a16="http://schemas.microsoft.com/office/drawing/2014/main" val="10001"/>
                  </a:ext>
                </a:extLst>
              </a:tr>
              <a:tr h="434413">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000" noProof="0" dirty="0"/>
                        <a:t>MDLZ</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000" noProof="0" dirty="0"/>
                        <a:t>Pete Ford</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0" marR="0" lvl="2" indent="0" algn="l" defTabSz="456888" rtl="0" eaLnBrk="1" fontAlgn="auto" latinLnBrk="0" hangingPunct="1">
                        <a:lnSpc>
                          <a:spcPct val="100000"/>
                        </a:lnSpc>
                        <a:spcBef>
                          <a:spcPts val="0"/>
                        </a:spcBef>
                        <a:spcAft>
                          <a:spcPts val="0"/>
                        </a:spcAft>
                        <a:buClrTx/>
                        <a:buSzTx/>
                        <a:buFontTx/>
                        <a:buNone/>
                        <a:tabLst/>
                        <a:defRPr/>
                      </a:pPr>
                      <a:r>
                        <a:rPr lang="en-US" sz="1000" i="0" noProof="0" dirty="0">
                          <a:latin typeface="+mn-lt"/>
                        </a:rPr>
                        <a:t>Project Manager</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noProof="0" dirty="0"/>
                        <a:t>Handling change Management, day to day Project management , </a:t>
                      </a:r>
                      <a:r>
                        <a:rPr lang="en-US" sz="800" kern="1200" noProof="0" dirty="0">
                          <a:solidFill>
                            <a:schemeClr val="dk1"/>
                          </a:solidFill>
                          <a:latin typeface="Calibri"/>
                          <a:ea typeface=""/>
                          <a:cs typeface=""/>
                        </a:rPr>
                        <a:t> aligning with Release Management other stake holders of the larger SFDC program</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800" noProof="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0002"/>
                  </a:ext>
                </a:extLst>
              </a:tr>
              <a:tr h="27352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000" noProof="0" dirty="0"/>
                        <a:t>MDLZ</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000" noProof="0" dirty="0"/>
                        <a:t>Kavitha Golagani</a:t>
                      </a:r>
                    </a:p>
                  </a:txBody>
                  <a:tcP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0" marR="0" lvl="2" indent="0" algn="l" defTabSz="456888" rtl="0" eaLnBrk="1" fontAlgn="auto" latinLnBrk="0" hangingPunct="1">
                        <a:lnSpc>
                          <a:spcPct val="100000"/>
                        </a:lnSpc>
                        <a:spcBef>
                          <a:spcPts val="0"/>
                        </a:spcBef>
                        <a:spcAft>
                          <a:spcPts val="0"/>
                        </a:spcAft>
                        <a:buClrTx/>
                        <a:buSzTx/>
                        <a:buFontTx/>
                        <a:buNone/>
                        <a:tabLst/>
                        <a:defRPr/>
                      </a:pPr>
                      <a:r>
                        <a:rPr lang="en-US" sz="1000" i="0" noProof="0" dirty="0">
                          <a:latin typeface="+mn-lt"/>
                        </a:rPr>
                        <a:t>Integration </a:t>
                      </a:r>
                      <a:r>
                        <a:rPr lang="en-US" sz="1000" i="0" baseline="0" noProof="0" dirty="0">
                          <a:latin typeface="+mn-lt"/>
                        </a:rPr>
                        <a:t>Lead</a:t>
                      </a:r>
                      <a:endParaRPr lang="en-US" sz="1000" i="0" noProof="0" dirty="0">
                        <a:latin typeface="+mn-lt"/>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endParaRPr lang="en-US" sz="800" kern="1200" noProof="0" dirty="0">
                        <a:solidFill>
                          <a:schemeClr val="dk1"/>
                        </a:solidFill>
                        <a:latin typeface="Calibri"/>
                        <a:ea typeface=""/>
                        <a:cs typeface=""/>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extLst>
                  <a:ext uri="{0D108BD9-81ED-4DB2-BD59-A6C34878D82A}">
                    <a16:rowId xmlns:a16="http://schemas.microsoft.com/office/drawing/2014/main" val="10003"/>
                  </a:ext>
                </a:extLst>
              </a:tr>
              <a:tr h="27352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000" noProof="0" dirty="0"/>
                        <a:t>MDLZ</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000" noProof="0" dirty="0">
                          <a:solidFill>
                            <a:schemeClr val="tx1"/>
                          </a:solidFill>
                        </a:rPr>
                        <a:t>David </a:t>
                      </a:r>
                      <a:r>
                        <a:rPr lang="en-US" sz="1000" noProof="0" dirty="0" err="1">
                          <a:solidFill>
                            <a:schemeClr val="tx1"/>
                          </a:solidFill>
                        </a:rPr>
                        <a:t>Mickan</a:t>
                      </a:r>
                      <a:endParaRPr lang="en-US" sz="1000" noProof="0" dirty="0">
                        <a:solidFill>
                          <a:schemeClr val="tx1"/>
                        </a:solidFill>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000" noProof="0" dirty="0"/>
                        <a:t>MDLZ Enterprise Governance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800" noProof="0" dirty="0">
                          <a:latin typeface="+mj-lt"/>
                        </a:rPr>
                        <a:t>Project and Platform Governance </a:t>
                      </a: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0004"/>
                  </a:ext>
                </a:extLst>
              </a:tr>
              <a:tr h="31857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000" noProof="0" dirty="0"/>
                        <a:t>MDLZ</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000" noProof="0" dirty="0"/>
                        <a:t>Pedro</a:t>
                      </a:r>
                    </a:p>
                  </a:txBody>
                  <a:tcP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0" marR="0" lvl="2" indent="0" algn="l" defTabSz="456888" rtl="0" eaLnBrk="1" fontAlgn="auto" latinLnBrk="0" hangingPunct="1">
                        <a:lnSpc>
                          <a:spcPct val="100000"/>
                        </a:lnSpc>
                        <a:spcBef>
                          <a:spcPts val="0"/>
                        </a:spcBef>
                        <a:spcAft>
                          <a:spcPts val="0"/>
                        </a:spcAft>
                        <a:buClrTx/>
                        <a:buSzTx/>
                        <a:buFontTx/>
                        <a:buNone/>
                        <a:tabLst/>
                        <a:defRPr/>
                      </a:pPr>
                      <a:r>
                        <a:rPr lang="en-US" sz="1000" i="0" noProof="0" dirty="0">
                          <a:latin typeface="+mn-lt"/>
                        </a:rPr>
                        <a:t>Project Technical </a:t>
                      </a:r>
                      <a:r>
                        <a:rPr lang="en-US" sz="1000" i="0" baseline="0" noProof="0" dirty="0">
                          <a:latin typeface="+mn-lt"/>
                        </a:rPr>
                        <a:t>Lead</a:t>
                      </a:r>
                      <a:endParaRPr lang="en-US" sz="1000" i="0" noProof="0" dirty="0">
                        <a:latin typeface="+mn-lt"/>
                      </a:endParaRPr>
                    </a:p>
                  </a:txBody>
                  <a:tcP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800" kern="1200" baseline="0" noProof="0" dirty="0">
                          <a:solidFill>
                            <a:schemeClr val="dk1"/>
                          </a:solidFill>
                          <a:latin typeface="Calibri"/>
                        </a:rPr>
                        <a:t>SME , Design governance , and liaison between Mule Soft Architect and Project development team </a:t>
                      </a:r>
                      <a:endParaRPr lang="en-US" sz="800" noProof="0" dirty="0">
                        <a:latin typeface="+mj-lt"/>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064A2">
                        <a:tint val="40000"/>
                      </a:srgbClr>
                    </a:solidFill>
                  </a:tcPr>
                </a:tc>
                <a:extLst>
                  <a:ext uri="{0D108BD9-81ED-4DB2-BD59-A6C34878D82A}">
                    <a16:rowId xmlns:a16="http://schemas.microsoft.com/office/drawing/2014/main" val="10005"/>
                  </a:ext>
                </a:extLst>
              </a:tr>
              <a:tr h="316339">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000" noProof="0" dirty="0"/>
                        <a:t>Mule Soft </a:t>
                      </a:r>
                    </a:p>
                  </a:txBody>
                  <a:tcP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endParaRPr lang="en-US" sz="1000" noProof="0" dirty="0"/>
                    </a:p>
                  </a:txBody>
                  <a:tcP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0" marR="0" lvl="2" indent="0" algn="l" defTabSz="456888" rtl="0" eaLnBrk="1" fontAlgn="auto" latinLnBrk="0" hangingPunct="1">
                        <a:lnSpc>
                          <a:spcPct val="100000"/>
                        </a:lnSpc>
                        <a:spcBef>
                          <a:spcPts val="0"/>
                        </a:spcBef>
                        <a:spcAft>
                          <a:spcPts val="0"/>
                        </a:spcAft>
                        <a:buClrTx/>
                        <a:buSzTx/>
                        <a:buFontTx/>
                        <a:buNone/>
                        <a:tabLst/>
                        <a:defRPr/>
                      </a:pPr>
                      <a:r>
                        <a:rPr lang="en-US" sz="1000" i="0" noProof="0" dirty="0">
                          <a:latin typeface="+mn-lt"/>
                        </a:rPr>
                        <a:t>MuleSoft Architecture</a:t>
                      </a:r>
                      <a:r>
                        <a:rPr lang="en-US" sz="1000" i="0" baseline="0" noProof="0" dirty="0">
                          <a:latin typeface="+mn-lt"/>
                        </a:rPr>
                        <a:t> </a:t>
                      </a:r>
                      <a:endParaRPr lang="en-US" sz="1000" i="0" noProof="0" dirty="0">
                        <a:latin typeface="+mn-lt"/>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800" noProof="0" dirty="0">
                          <a:latin typeface="+mj-lt"/>
                        </a:rPr>
                        <a:t>Build and deliver technical</a:t>
                      </a:r>
                      <a:r>
                        <a:rPr lang="en-US" sz="800" baseline="0" noProof="0" dirty="0">
                          <a:latin typeface="+mj-lt"/>
                        </a:rPr>
                        <a:t> landscape, define framework and document . Available for 8 weeks Only &lt;&lt; Align with SoW &gt;&gt;</a:t>
                      </a:r>
                      <a:endParaRPr lang="en-US" sz="800" noProof="0" dirty="0">
                        <a:latin typeface="+mj-lt"/>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0006"/>
                  </a:ext>
                </a:extLst>
              </a:tr>
              <a:tr h="273520">
                <a:tc>
                  <a:txBody>
                    <a:bodyPr/>
                    <a:lstStyle/>
                    <a:p>
                      <a:r>
                        <a:rPr lang="en-US" sz="1000" noProof="0" dirty="0"/>
                        <a:t>MDLZ</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tc>
                  <a:txBody>
                    <a:bodyPr/>
                    <a:lstStyle/>
                    <a:p>
                      <a:r>
                        <a:rPr lang="en-US" sz="1000" noProof="0" dirty="0" err="1"/>
                        <a:t>Villius</a:t>
                      </a:r>
                      <a:endParaRPr lang="en-US" sz="1000" noProof="0" dirty="0"/>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tc>
                  <a:txBody>
                    <a:bodyPr/>
                    <a:lstStyle/>
                    <a:p>
                      <a:pPr marL="0" marR="0" lvl="2" indent="0" algn="l" defTabSz="456888" rtl="0" eaLnBrk="1" fontAlgn="auto" latinLnBrk="0" hangingPunct="1">
                        <a:lnSpc>
                          <a:spcPct val="100000"/>
                        </a:lnSpc>
                        <a:spcBef>
                          <a:spcPts val="0"/>
                        </a:spcBef>
                        <a:spcAft>
                          <a:spcPts val="0"/>
                        </a:spcAft>
                        <a:buClrTx/>
                        <a:buSzTx/>
                        <a:buFontTx/>
                        <a:buNone/>
                        <a:tabLst/>
                        <a:defRPr/>
                      </a:pPr>
                      <a:r>
                        <a:rPr lang="en-US" sz="1000" i="0" noProof="0" dirty="0">
                          <a:latin typeface="+mn-lt"/>
                        </a:rPr>
                        <a:t>Functional Lead</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tc>
                  <a:txBody>
                    <a:bodyPr/>
                    <a:lstStyle/>
                    <a:p>
                      <a:endParaRPr lang="en-US" sz="800" noProof="0" dirty="0">
                        <a:latin typeface="+mj-lt"/>
                      </a:endParaRP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967905329"/>
                  </a:ext>
                </a:extLst>
              </a:tr>
              <a:tr h="316339">
                <a:tc>
                  <a:txBody>
                    <a:bodyPr/>
                    <a:lstStyle/>
                    <a:p>
                      <a:r>
                        <a:rPr lang="en-US" sz="1000" noProof="0" dirty="0"/>
                        <a:t>Infosys</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tc>
                  <a:txBody>
                    <a:bodyPr/>
                    <a:lstStyle/>
                    <a:p>
                      <a:endParaRPr lang="en-US" sz="1000" noProof="0" dirty="0"/>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tc>
                  <a:txBody>
                    <a:bodyPr/>
                    <a:lstStyle/>
                    <a:p>
                      <a:pPr marL="0" marR="0" lvl="2" indent="0" algn="l" defTabSz="456888" rtl="0" eaLnBrk="1" fontAlgn="auto" latinLnBrk="0" hangingPunct="1">
                        <a:lnSpc>
                          <a:spcPct val="100000"/>
                        </a:lnSpc>
                        <a:spcBef>
                          <a:spcPts val="0"/>
                        </a:spcBef>
                        <a:spcAft>
                          <a:spcPts val="0"/>
                        </a:spcAft>
                        <a:buClrTx/>
                        <a:buSzTx/>
                        <a:buFontTx/>
                        <a:buNone/>
                        <a:tabLst/>
                        <a:defRPr/>
                      </a:pPr>
                      <a:r>
                        <a:rPr lang="en-US" sz="1000" i="0" noProof="0" dirty="0">
                          <a:latin typeface="+mn-lt"/>
                        </a:rPr>
                        <a:t>MuleSoft Development Lead</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tc>
                  <a:txBody>
                    <a:bodyPr/>
                    <a:lstStyle/>
                    <a:p>
                      <a:r>
                        <a:rPr lang="en-US" sz="800" noProof="0" dirty="0">
                          <a:latin typeface="+mj-lt"/>
                        </a:rPr>
                        <a:t> Development Lead , accountable for delivering the interface scope </a:t>
                      </a:r>
                      <a:r>
                        <a:rPr lang="en-US" sz="800" kern="1200" baseline="0" noProof="0" dirty="0">
                          <a:solidFill>
                            <a:schemeClr val="tx1"/>
                          </a:solidFill>
                          <a:latin typeface="+mn-lt"/>
                          <a:ea typeface="+mn-ea"/>
                          <a:cs typeface="+mn-cs"/>
                        </a:rPr>
                        <a:t>&lt;&lt; Align with SoW &gt;&gt;</a:t>
                      </a:r>
                      <a:endParaRPr lang="en-US" sz="800" noProof="0" dirty="0">
                        <a:latin typeface="+mj-lt"/>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0007"/>
                  </a:ext>
                </a:extLst>
              </a:tr>
              <a:tr h="273520">
                <a:tc>
                  <a:txBody>
                    <a:bodyPr/>
                    <a:lstStyle/>
                    <a:p>
                      <a:r>
                        <a:rPr lang="en-US" sz="1000" noProof="0" dirty="0"/>
                        <a:t>Infosys</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8D3E0"/>
                    </a:solidFill>
                  </a:tcPr>
                </a:tc>
                <a:tc>
                  <a:txBody>
                    <a:bodyPr/>
                    <a:lstStyle/>
                    <a:p>
                      <a:endParaRPr lang="en-US" sz="1000" noProof="0" dirty="0"/>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8D3E0"/>
                    </a:solidFill>
                  </a:tcPr>
                </a:tc>
                <a:tc>
                  <a:txBody>
                    <a:bodyPr/>
                    <a:lstStyle/>
                    <a:p>
                      <a:pPr marL="0" marR="0" lvl="2" indent="0" algn="l" defTabSz="456888" rtl="0" eaLnBrk="1" fontAlgn="auto" latinLnBrk="0" hangingPunct="1">
                        <a:lnSpc>
                          <a:spcPct val="100000"/>
                        </a:lnSpc>
                        <a:spcBef>
                          <a:spcPts val="0"/>
                        </a:spcBef>
                        <a:spcAft>
                          <a:spcPts val="0"/>
                        </a:spcAft>
                        <a:buClrTx/>
                        <a:buSzTx/>
                        <a:buFontTx/>
                        <a:buNone/>
                        <a:tabLst/>
                        <a:defRPr/>
                      </a:pPr>
                      <a:r>
                        <a:rPr lang="en-US" sz="1000" i="0" noProof="0" dirty="0">
                          <a:latin typeface="+mn-lt"/>
                        </a:rPr>
                        <a:t>MuleSoft Developer </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8D3E0"/>
                    </a:solidFill>
                  </a:tcPr>
                </a:tc>
                <a:tc>
                  <a:txBody>
                    <a:bodyPr/>
                    <a:lstStyle/>
                    <a:p>
                      <a:endParaRPr lang="en-US" sz="800" noProof="0" dirty="0">
                        <a:latin typeface="+mj-lt"/>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8D3E0"/>
                    </a:solidFill>
                  </a:tcPr>
                </a:tc>
                <a:extLst>
                  <a:ext uri="{0D108BD9-81ED-4DB2-BD59-A6C34878D82A}">
                    <a16:rowId xmlns:a16="http://schemas.microsoft.com/office/drawing/2014/main" val="10008"/>
                  </a:ext>
                </a:extLst>
              </a:tr>
              <a:tr h="273520">
                <a:tc>
                  <a:txBody>
                    <a:bodyPr/>
                    <a:lstStyle/>
                    <a:p>
                      <a:r>
                        <a:rPr lang="en-US" sz="1000" noProof="0" dirty="0"/>
                        <a:t>Infosys</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tc>
                  <a:txBody>
                    <a:bodyPr/>
                    <a:lstStyle/>
                    <a:p>
                      <a:endParaRPr lang="en-US" sz="1000" noProof="0" dirty="0"/>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tc>
                  <a:txBody>
                    <a:bodyPr/>
                    <a:lstStyle/>
                    <a:p>
                      <a:pPr marL="0" marR="0" lvl="2" indent="0" algn="l" defTabSz="456888" rtl="0" eaLnBrk="1" fontAlgn="auto" latinLnBrk="0" hangingPunct="1">
                        <a:lnSpc>
                          <a:spcPct val="100000"/>
                        </a:lnSpc>
                        <a:spcBef>
                          <a:spcPts val="0"/>
                        </a:spcBef>
                        <a:spcAft>
                          <a:spcPts val="0"/>
                        </a:spcAft>
                        <a:buClrTx/>
                        <a:buSzTx/>
                        <a:buFontTx/>
                        <a:buNone/>
                        <a:tabLst/>
                        <a:defRPr/>
                      </a:pPr>
                      <a:r>
                        <a:rPr lang="en-US" sz="1000" i="0" noProof="0" dirty="0">
                          <a:latin typeface="+mn-lt"/>
                        </a:rPr>
                        <a:t>MuleSoft Developer </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tc>
                  <a:txBody>
                    <a:bodyPr/>
                    <a:lstStyle/>
                    <a:p>
                      <a:endParaRPr lang="en-US" sz="800" noProof="0" dirty="0">
                        <a:latin typeface="+mj-lt"/>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0009"/>
                  </a:ext>
                </a:extLst>
              </a:tr>
              <a:tr h="273520">
                <a:tc>
                  <a:txBody>
                    <a:bodyPr/>
                    <a:lstStyle/>
                    <a:p>
                      <a:r>
                        <a:rPr lang="en-US" sz="1000" noProof="0" dirty="0"/>
                        <a:t>MDLZ</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8D3E0"/>
                    </a:solidFill>
                  </a:tcPr>
                </a:tc>
                <a:tc>
                  <a:txBody>
                    <a:bodyPr/>
                    <a:lstStyle/>
                    <a:p>
                      <a:endParaRPr lang="en-US" sz="1000" noProof="0" dirty="0"/>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8D3E0"/>
                    </a:solidFill>
                  </a:tcPr>
                </a:tc>
                <a:tc>
                  <a:txBody>
                    <a:bodyPr/>
                    <a:lstStyle/>
                    <a:p>
                      <a:pPr marL="0" marR="0" lvl="2" indent="0" algn="l" defTabSz="456888" rtl="0" eaLnBrk="1" fontAlgn="auto" latinLnBrk="0" hangingPunct="1">
                        <a:lnSpc>
                          <a:spcPct val="100000"/>
                        </a:lnSpc>
                        <a:spcBef>
                          <a:spcPts val="0"/>
                        </a:spcBef>
                        <a:spcAft>
                          <a:spcPts val="0"/>
                        </a:spcAft>
                        <a:buClrTx/>
                        <a:buSzTx/>
                        <a:buFontTx/>
                        <a:buNone/>
                        <a:tabLst/>
                        <a:defRPr/>
                      </a:pPr>
                      <a:r>
                        <a:rPr lang="en-US" sz="1000" i="0" noProof="0" dirty="0">
                          <a:latin typeface="+mn-lt"/>
                        </a:rPr>
                        <a:t>SAP Basis Lead</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8D3E0"/>
                    </a:solidFill>
                  </a:tcPr>
                </a:tc>
                <a:tc>
                  <a:txBody>
                    <a:bodyPr/>
                    <a:lstStyle/>
                    <a:p>
                      <a:endParaRPr lang="en-US" sz="800" noProof="0" dirty="0">
                        <a:latin typeface="+mj-lt"/>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8D3E0"/>
                    </a:solidFill>
                  </a:tcPr>
                </a:tc>
                <a:extLst>
                  <a:ext uri="{0D108BD9-81ED-4DB2-BD59-A6C34878D82A}">
                    <a16:rowId xmlns:a16="http://schemas.microsoft.com/office/drawing/2014/main" val="10010"/>
                  </a:ext>
                </a:extLst>
              </a:tr>
              <a:tr h="3764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a:t>MDLZ</a:t>
                      </a:r>
                    </a:p>
                    <a:p>
                      <a:endParaRPr lang="en-US" sz="1000" noProof="0" dirty="0"/>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endParaRPr lang="en-US" sz="1000" noProof="0" dirty="0"/>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2" indent="0" algn="l" defTabSz="456888" rtl="0" eaLnBrk="1" fontAlgn="auto" latinLnBrk="0" hangingPunct="1">
                        <a:lnSpc>
                          <a:spcPct val="100000"/>
                        </a:lnSpc>
                        <a:spcBef>
                          <a:spcPts val="0"/>
                        </a:spcBef>
                        <a:spcAft>
                          <a:spcPts val="0"/>
                        </a:spcAft>
                        <a:buClrTx/>
                        <a:buSzTx/>
                        <a:buFontTx/>
                        <a:buNone/>
                        <a:tabLst/>
                        <a:defRPr/>
                      </a:pPr>
                      <a:r>
                        <a:rPr lang="en-US" sz="1000" i="0" noProof="0" dirty="0">
                          <a:latin typeface="+mn-lt"/>
                        </a:rPr>
                        <a:t>Automic Lead</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endParaRPr lang="en-US" sz="800" b="1" noProof="0" dirty="0">
                        <a:latin typeface="+mj-lt"/>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0011"/>
                  </a:ext>
                </a:extLst>
              </a:tr>
              <a:tr h="273520">
                <a:tc>
                  <a:txBody>
                    <a:bodyPr/>
                    <a:lstStyle/>
                    <a:p>
                      <a:endParaRPr lang="en-US" sz="1000" noProof="0" dirty="0"/>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8D3E0"/>
                    </a:solidFill>
                  </a:tcPr>
                </a:tc>
                <a:tc>
                  <a:txBody>
                    <a:bodyPr/>
                    <a:lstStyle/>
                    <a:p>
                      <a:endParaRPr lang="en-US" sz="1000" noProof="0" dirty="0"/>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8D3E0"/>
                    </a:solidFill>
                  </a:tcPr>
                </a:tc>
                <a:tc>
                  <a:txBody>
                    <a:bodyPr/>
                    <a:lstStyle/>
                    <a:p>
                      <a:pPr marL="0" marR="0" lvl="2" indent="0" algn="l" defTabSz="456888" rtl="0" eaLnBrk="1" fontAlgn="auto" latinLnBrk="0" hangingPunct="1">
                        <a:lnSpc>
                          <a:spcPct val="100000"/>
                        </a:lnSpc>
                        <a:spcBef>
                          <a:spcPts val="0"/>
                        </a:spcBef>
                        <a:spcAft>
                          <a:spcPts val="0"/>
                        </a:spcAft>
                        <a:buClrTx/>
                        <a:buSzTx/>
                        <a:buFontTx/>
                        <a:buNone/>
                        <a:tabLst/>
                        <a:defRPr/>
                      </a:pPr>
                      <a:r>
                        <a:rPr lang="en-US" sz="1000" i="0" noProof="0" dirty="0">
                          <a:latin typeface="+mn-lt"/>
                        </a:rPr>
                        <a:t>Test Management Lead</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8D3E0"/>
                    </a:solidFill>
                  </a:tcPr>
                </a:tc>
                <a:tc>
                  <a:txBody>
                    <a:bodyPr/>
                    <a:lstStyle/>
                    <a:p>
                      <a:endParaRPr lang="en-US" sz="800" noProof="0" dirty="0">
                        <a:latin typeface="+mj-lt"/>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8D3E0"/>
                    </a:solidFill>
                  </a:tcPr>
                </a:tc>
                <a:extLst>
                  <a:ext uri="{0D108BD9-81ED-4DB2-BD59-A6C34878D82A}">
                    <a16:rowId xmlns:a16="http://schemas.microsoft.com/office/drawing/2014/main" val="10012"/>
                  </a:ext>
                </a:extLst>
              </a:tr>
              <a:tr h="273520">
                <a:tc>
                  <a:txBody>
                    <a:bodyPr/>
                    <a:lstStyle/>
                    <a:p>
                      <a:endParaRPr lang="en-US" sz="1000" noProof="0" dirty="0"/>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endParaRPr lang="en-US" sz="1000" noProof="0" dirty="0"/>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2" indent="0" algn="l" defTabSz="456888" rtl="0" eaLnBrk="1" fontAlgn="auto" latinLnBrk="0" hangingPunct="1">
                        <a:lnSpc>
                          <a:spcPct val="100000"/>
                        </a:lnSpc>
                        <a:spcBef>
                          <a:spcPts val="0"/>
                        </a:spcBef>
                        <a:spcAft>
                          <a:spcPts val="0"/>
                        </a:spcAft>
                        <a:buClrTx/>
                        <a:buSzTx/>
                        <a:buFontTx/>
                        <a:buNone/>
                        <a:tabLst/>
                        <a:defRPr/>
                      </a:pPr>
                      <a:r>
                        <a:rPr lang="en-US" sz="1000" i="0" noProof="0" dirty="0">
                          <a:latin typeface="+mn-lt"/>
                        </a:rPr>
                        <a:t>T2S Lead</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endParaRPr lang="en-US" sz="800" noProof="0" dirty="0">
                        <a:latin typeface="+mj-lt"/>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0013"/>
                  </a:ext>
                </a:extLst>
              </a:tr>
              <a:tr h="273520">
                <a:tc>
                  <a:txBody>
                    <a:bodyPr/>
                    <a:lstStyle/>
                    <a:p>
                      <a:endParaRPr lang="en-US" sz="1000" noProof="0" dirty="0"/>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noProof="0" dirty="0"/>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2" indent="0" algn="l" defTabSz="456888" rtl="0" eaLnBrk="1" fontAlgn="auto" latinLnBrk="0" hangingPunct="1">
                        <a:lnSpc>
                          <a:spcPct val="100000"/>
                        </a:lnSpc>
                        <a:spcBef>
                          <a:spcPts val="0"/>
                        </a:spcBef>
                        <a:spcAft>
                          <a:spcPts val="0"/>
                        </a:spcAft>
                        <a:buClrTx/>
                        <a:buSzTx/>
                        <a:buFontTx/>
                        <a:buNone/>
                        <a:tabLst/>
                        <a:defRPr/>
                      </a:pPr>
                      <a:r>
                        <a:rPr lang="en-US" sz="1000" i="0" noProof="0" dirty="0">
                          <a:latin typeface="+mn-lt"/>
                        </a:rPr>
                        <a:t>Support and Operation Lead</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endParaRPr lang="en-US" sz="800" noProof="0" dirty="0">
                        <a:latin typeface="+mj-lt"/>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0014"/>
                  </a:ext>
                </a:extLst>
              </a:tr>
              <a:tr h="273520">
                <a:tc>
                  <a:txBody>
                    <a:bodyPr/>
                    <a:lstStyle/>
                    <a:p>
                      <a:endParaRPr lang="en-US" sz="1000" noProof="0" dirty="0"/>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8D3E0"/>
                    </a:solidFill>
                  </a:tcPr>
                </a:tc>
                <a:tc>
                  <a:txBody>
                    <a:bodyPr/>
                    <a:lstStyle/>
                    <a:p>
                      <a:endParaRPr lang="en-US" sz="1000" noProof="0" dirty="0"/>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8D3E0"/>
                    </a:solidFill>
                  </a:tcPr>
                </a:tc>
                <a:tc>
                  <a:txBody>
                    <a:bodyPr/>
                    <a:lstStyle/>
                    <a:p>
                      <a:pPr marL="0" marR="0" lvl="2" indent="0" algn="l" defTabSz="456888" rtl="0" eaLnBrk="1" fontAlgn="auto" latinLnBrk="0" hangingPunct="1">
                        <a:lnSpc>
                          <a:spcPct val="100000"/>
                        </a:lnSpc>
                        <a:spcBef>
                          <a:spcPts val="0"/>
                        </a:spcBef>
                        <a:spcAft>
                          <a:spcPts val="0"/>
                        </a:spcAft>
                        <a:buClrTx/>
                        <a:buSzTx/>
                        <a:buFontTx/>
                        <a:buNone/>
                        <a:tabLst/>
                        <a:defRPr/>
                      </a:pPr>
                      <a:endParaRPr lang="en-US" sz="1000" i="0" noProof="0" dirty="0">
                        <a:latin typeface="+mn-lt"/>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8D3E0"/>
                    </a:solidFill>
                  </a:tcPr>
                </a:tc>
                <a:tc>
                  <a:txBody>
                    <a:bodyPr/>
                    <a:lstStyle/>
                    <a:p>
                      <a:endParaRPr lang="en-US" sz="800" noProof="0" dirty="0">
                        <a:latin typeface="+mj-lt"/>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8D3E0"/>
                    </a:solidFill>
                  </a:tcPr>
                </a:tc>
                <a:extLst>
                  <a:ext uri="{0D108BD9-81ED-4DB2-BD59-A6C34878D82A}">
                    <a16:rowId xmlns:a16="http://schemas.microsoft.com/office/drawing/2014/main" val="10016"/>
                  </a:ext>
                </a:extLst>
              </a:tr>
              <a:tr h="273520">
                <a:tc>
                  <a:txBody>
                    <a:bodyPr/>
                    <a:lstStyle/>
                    <a:p>
                      <a:endParaRPr lang="en-US" sz="1000" noProof="0" dirty="0"/>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8D3E0"/>
                    </a:solidFill>
                  </a:tcPr>
                </a:tc>
                <a:tc>
                  <a:txBody>
                    <a:bodyPr/>
                    <a:lstStyle/>
                    <a:p>
                      <a:endParaRPr lang="en-US" sz="1000" noProof="0" dirty="0"/>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8D3E0"/>
                    </a:solidFill>
                  </a:tcPr>
                </a:tc>
                <a:tc>
                  <a:txBody>
                    <a:bodyPr/>
                    <a:lstStyle/>
                    <a:p>
                      <a:pPr marL="0" marR="0" lvl="2" indent="0" algn="l" defTabSz="456888" rtl="0" eaLnBrk="1" fontAlgn="auto" latinLnBrk="0" hangingPunct="1">
                        <a:lnSpc>
                          <a:spcPct val="100000"/>
                        </a:lnSpc>
                        <a:spcBef>
                          <a:spcPts val="0"/>
                        </a:spcBef>
                        <a:spcAft>
                          <a:spcPts val="0"/>
                        </a:spcAft>
                        <a:buClrTx/>
                        <a:buSzTx/>
                        <a:buFontTx/>
                        <a:buNone/>
                        <a:tabLst/>
                        <a:defRPr/>
                      </a:pPr>
                      <a:endParaRPr lang="en-US" sz="1000" i="0" noProof="0" dirty="0">
                        <a:latin typeface="+mn-lt"/>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8D3E0"/>
                    </a:solidFill>
                  </a:tcPr>
                </a:tc>
                <a:tc>
                  <a:txBody>
                    <a:bodyPr/>
                    <a:lstStyle/>
                    <a:p>
                      <a:endParaRPr lang="en-US" sz="800" noProof="0" dirty="0">
                        <a:latin typeface="+mj-lt"/>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8D3E0"/>
                    </a:solidFill>
                  </a:tcPr>
                </a:tc>
                <a:extLst>
                  <a:ext uri="{0D108BD9-81ED-4DB2-BD59-A6C34878D82A}">
                    <a16:rowId xmlns:a16="http://schemas.microsoft.com/office/drawing/2014/main" val="10017"/>
                  </a:ext>
                </a:extLst>
              </a:tr>
            </a:tbl>
          </a:graphicData>
        </a:graphic>
      </p:graphicFrame>
      <p:sp>
        <p:nvSpPr>
          <p:cNvPr id="2" name="Slide Number Placeholder 1"/>
          <p:cNvSpPr>
            <a:spLocks noGrp="1"/>
          </p:cNvSpPr>
          <p:nvPr>
            <p:ph type="sldNum" sz="quarter" idx="10"/>
          </p:nvPr>
        </p:nvSpPr>
        <p:spPr/>
        <p:txBody>
          <a:bodyPr/>
          <a:lstStyle/>
          <a:p>
            <a:pPr defTabSz="455621" fontAlgn="base">
              <a:spcBef>
                <a:spcPct val="0"/>
              </a:spcBef>
              <a:spcAft>
                <a:spcPct val="0"/>
              </a:spcAft>
              <a:defRPr/>
            </a:pPr>
            <a:fld id="{5276565E-5A9B-4B05-83C2-0CC7C2C924A0}" type="slidenum">
              <a:rPr lang="en-US" smtClean="0">
                <a:solidFill>
                  <a:prstClr val="black"/>
                </a:solidFill>
                <a:ea typeface="ＭＳ Ｐゴシック" pitchFamily="34" charset="-128"/>
              </a:rPr>
              <a:pPr defTabSz="455621" fontAlgn="base">
                <a:spcBef>
                  <a:spcPct val="0"/>
                </a:spcBef>
                <a:spcAft>
                  <a:spcPct val="0"/>
                </a:spcAft>
                <a:defRPr/>
              </a:pPr>
              <a:t>7</a:t>
            </a:fld>
            <a:endParaRPr lang="en-US" dirty="0">
              <a:solidFill>
                <a:prstClr val="black"/>
              </a:solidFill>
              <a:ea typeface="ＭＳ Ｐゴシック" pitchFamily="34" charset="-128"/>
            </a:endParaRPr>
          </a:p>
        </p:txBody>
      </p:sp>
    </p:spTree>
    <p:extLst>
      <p:ext uri="{BB962C8B-B14F-4D97-AF65-F5344CB8AC3E}">
        <p14:creationId xmlns:p14="http://schemas.microsoft.com/office/powerpoint/2010/main" val="237422103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1814667748"/>
              </p:ext>
            </p:extLst>
          </p:nvPr>
        </p:nvGraphicFramePr>
        <p:xfrm>
          <a:off x="304800" y="182880"/>
          <a:ext cx="12192000" cy="61417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0"/>
          </p:nvPr>
        </p:nvSpPr>
        <p:spPr/>
        <p:txBody>
          <a:bodyPr/>
          <a:lstStyle/>
          <a:p>
            <a:pPr defTabSz="455621" fontAlgn="base">
              <a:spcBef>
                <a:spcPct val="0"/>
              </a:spcBef>
              <a:spcAft>
                <a:spcPct val="0"/>
              </a:spcAft>
              <a:defRPr/>
            </a:pPr>
            <a:fld id="{5276565E-5A9B-4B05-83C2-0CC7C2C924A0}" type="slidenum">
              <a:rPr lang="en-US" smtClean="0">
                <a:solidFill>
                  <a:prstClr val="black"/>
                </a:solidFill>
                <a:ea typeface="ＭＳ Ｐゴシック" pitchFamily="34" charset="-128"/>
              </a:rPr>
              <a:pPr defTabSz="455621" fontAlgn="base">
                <a:spcBef>
                  <a:spcPct val="0"/>
                </a:spcBef>
                <a:spcAft>
                  <a:spcPct val="0"/>
                </a:spcAft>
                <a:defRPr/>
              </a:pPr>
              <a:t>8</a:t>
            </a:fld>
            <a:endParaRPr lang="en-US" dirty="0">
              <a:solidFill>
                <a:prstClr val="black"/>
              </a:solidFill>
              <a:ea typeface="ＭＳ Ｐゴシック" pitchFamily="34" charset="-128"/>
            </a:endParaRPr>
          </a:p>
        </p:txBody>
      </p:sp>
      <p:sp>
        <p:nvSpPr>
          <p:cNvPr id="10" name="Rectangle 3"/>
          <p:cNvSpPr>
            <a:spLocks noGrp="1" noChangeArrowheads="1"/>
          </p:cNvSpPr>
          <p:nvPr>
            <p:ph type="title"/>
          </p:nvPr>
        </p:nvSpPr>
        <p:spPr>
          <a:xfrm>
            <a:off x="731520" y="182880"/>
            <a:ext cx="8720504" cy="697832"/>
          </a:xfrm>
          <a:prstGeom prst="rect">
            <a:avLst/>
          </a:prstGeom>
        </p:spPr>
        <p:txBody>
          <a:bodyPr vert="horz" lIns="87248" tIns="43624" rIns="87248" bIns="43624" rtlCol="0" anchor="ctr">
            <a:normAutofit/>
          </a:bodyPr>
          <a:lstStyle/>
          <a:p>
            <a:pPr defTabSz="914400" fontAlgn="auto">
              <a:spcBef>
                <a:spcPts val="0"/>
              </a:spcBef>
              <a:spcAft>
                <a:spcPts val="0"/>
              </a:spcAft>
              <a:defRPr/>
            </a:pPr>
            <a:r>
              <a:rPr lang="en-US" kern="0" dirty="0"/>
              <a:t>6. Team Structure &amp; Responsibilities – Kavitha.</a:t>
            </a:r>
          </a:p>
        </p:txBody>
      </p:sp>
    </p:spTree>
    <p:extLst>
      <p:ext uri="{BB962C8B-B14F-4D97-AF65-F5344CB8AC3E}">
        <p14:creationId xmlns:p14="http://schemas.microsoft.com/office/powerpoint/2010/main" val="315397730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F741705-0F09-4F20-ABB0-DDCBB127C6D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4" imgW="395" imgH="396" progId="TCLayout.ActiveDocument.1">
                  <p:embed/>
                </p:oleObj>
              </mc:Choice>
              <mc:Fallback>
                <p:oleObj name="think-cell Slide" r:id="rId154" imgW="395" imgH="396" progId="TCLayout.ActiveDocument.1">
                  <p:embed/>
                  <p:pic>
                    <p:nvPicPr>
                      <p:cNvPr id="3" name="Object 2" hidden="1">
                        <a:extLst>
                          <a:ext uri="{FF2B5EF4-FFF2-40B4-BE49-F238E27FC236}">
                            <a16:creationId xmlns:a16="http://schemas.microsoft.com/office/drawing/2014/main" id="{3F741705-0F09-4F20-ABB0-DDCBB127C6DD}"/>
                          </a:ext>
                        </a:extLst>
                      </p:cNvPr>
                      <p:cNvPicPr/>
                      <p:nvPr/>
                    </p:nvPicPr>
                    <p:blipFill>
                      <a:blip r:embed="rId155"/>
                      <a:stretch>
                        <a:fillRect/>
                      </a:stretch>
                    </p:blipFill>
                    <p:spPr>
                      <a:xfrm>
                        <a:off x="1588" y="1588"/>
                        <a:ext cx="1588" cy="1588"/>
                      </a:xfrm>
                      <a:prstGeom prst="rect">
                        <a:avLst/>
                      </a:prstGeom>
                    </p:spPr>
                  </p:pic>
                </p:oleObj>
              </mc:Fallback>
            </mc:AlternateContent>
          </a:graphicData>
        </a:graphic>
      </p:graphicFrame>
      <p:sp>
        <p:nvSpPr>
          <p:cNvPr id="217" name="Rectangle 216">
            <a:extLst>
              <a:ext uri="{FF2B5EF4-FFF2-40B4-BE49-F238E27FC236}">
                <a16:creationId xmlns:a16="http://schemas.microsoft.com/office/drawing/2014/main" id="{2A93BA1B-AC5D-4012-AE93-FF3C067C0612}"/>
              </a:ext>
            </a:extLst>
          </p:cNvPr>
          <p:cNvSpPr/>
          <p:nvPr>
            <p:custDataLst>
              <p:tags r:id="rId3"/>
            </p:custDataLst>
          </p:nvPr>
        </p:nvSpPr>
        <p:spPr bwMode="auto">
          <a:xfrm>
            <a:off x="4311650" y="1417713"/>
            <a:ext cx="576263" cy="4679950"/>
          </a:xfrm>
          <a:prstGeom prst="rect">
            <a:avLst/>
          </a:prstGeom>
          <a:solidFill>
            <a:srgbClr val="B2B2B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8" name="Text Placeholder 2">
            <a:extLst>
              <a:ext uri="{FF2B5EF4-FFF2-40B4-BE49-F238E27FC236}">
                <a16:creationId xmlns:a16="http://schemas.microsoft.com/office/drawing/2014/main" id="{9B8A120B-DE43-4102-A6F8-09A89A1B64FD}"/>
              </a:ext>
            </a:extLst>
          </p:cNvPr>
          <p:cNvSpPr>
            <a:spLocks noGrp="1"/>
          </p:cNvSpPr>
          <p:nvPr>
            <p:custDataLst>
              <p:tags r:id="rId4"/>
            </p:custDataLst>
          </p:nvPr>
        </p:nvSpPr>
        <p:spPr bwMode="auto">
          <a:xfrm>
            <a:off x="1254125" y="698575"/>
            <a:ext cx="3309938"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1131840-62E8-4B13-8A64-5446B61CF733}" type="datetime'2''''''''0''''''''2''''''''''''''1'''''''''">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21</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Text Placeholder 2">
            <a:extLst>
              <a:ext uri="{FF2B5EF4-FFF2-40B4-BE49-F238E27FC236}">
                <a16:creationId xmlns:a16="http://schemas.microsoft.com/office/drawing/2014/main" id="{B190F720-17B7-4C6D-BB0D-5EA7FF8EB882}"/>
              </a:ext>
            </a:extLst>
          </p:cNvPr>
          <p:cNvSpPr>
            <a:spLocks noGrp="1"/>
          </p:cNvSpPr>
          <p:nvPr>
            <p:custDataLst>
              <p:tags r:id="rId5"/>
            </p:custDataLst>
          </p:nvPr>
        </p:nvSpPr>
        <p:spPr bwMode="auto">
          <a:xfrm>
            <a:off x="4564063" y="698575"/>
            <a:ext cx="7627938"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3075BA2-A2F6-4F75-86A6-AF55D783F5E9}" type="datetime'''''''''''''''''''2''''''0''''''''''''2''''''''''''2'''">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22</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Text Placeholder 2">
            <a:extLst>
              <a:ext uri="{FF2B5EF4-FFF2-40B4-BE49-F238E27FC236}">
                <a16:creationId xmlns:a16="http://schemas.microsoft.com/office/drawing/2014/main" id="{9B8A120B-DE43-4102-A6F8-09A89A1B64FD}"/>
              </a:ext>
            </a:extLst>
          </p:cNvPr>
          <p:cNvSpPr>
            <a:spLocks noGrp="1"/>
          </p:cNvSpPr>
          <p:nvPr>
            <p:custDataLst>
              <p:tags r:id="rId6"/>
            </p:custDataLst>
          </p:nvPr>
        </p:nvSpPr>
        <p:spPr bwMode="auto">
          <a:xfrm>
            <a:off x="1254126" y="938288"/>
            <a:ext cx="11160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7E31ABD2-4BF0-4CE2-96F3-5C78B2434C0F}" type="datetime'''''''''''''''O''''c''t'''''''''''''''''''''''''''''''''''''''">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Oct</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7" name="Text Placeholder 2">
            <a:extLst>
              <a:ext uri="{FF2B5EF4-FFF2-40B4-BE49-F238E27FC236}">
                <a16:creationId xmlns:a16="http://schemas.microsoft.com/office/drawing/2014/main" id="{8FC03D32-97D9-4F9B-A671-BA7332B5C29D}"/>
              </a:ext>
            </a:extLst>
          </p:cNvPr>
          <p:cNvSpPr>
            <a:spLocks noGrp="1"/>
          </p:cNvSpPr>
          <p:nvPr>
            <p:custDataLst>
              <p:tags r:id="rId7"/>
            </p:custDataLst>
          </p:nvPr>
        </p:nvSpPr>
        <p:spPr bwMode="auto">
          <a:xfrm>
            <a:off x="2370138" y="938288"/>
            <a:ext cx="1079500"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B4FCE14-49B4-4955-AF54-8276613DABB3}" type="datetime'''''''''''''''''N''''''''''''''''''''''ov'''''''''''''''''">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Nov</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8" name="Text Placeholder 2">
            <a:extLst>
              <a:ext uri="{FF2B5EF4-FFF2-40B4-BE49-F238E27FC236}">
                <a16:creationId xmlns:a16="http://schemas.microsoft.com/office/drawing/2014/main" id="{141BC284-B912-4F80-B5C8-0CAF6EB6FA87}"/>
              </a:ext>
            </a:extLst>
          </p:cNvPr>
          <p:cNvSpPr>
            <a:spLocks noGrp="1"/>
          </p:cNvSpPr>
          <p:nvPr>
            <p:custDataLst>
              <p:tags r:id="rId8"/>
            </p:custDataLst>
          </p:nvPr>
        </p:nvSpPr>
        <p:spPr bwMode="auto">
          <a:xfrm>
            <a:off x="3449638" y="938288"/>
            <a:ext cx="1114425"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965AC33-C122-4C30-A2EB-3EF11F54D3C1}" type="datetime'''''''''D''''''''''''''''''''''ec'''''">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Dec</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2" name="Text Placeholder 2">
            <a:extLst>
              <a:ext uri="{FF2B5EF4-FFF2-40B4-BE49-F238E27FC236}">
                <a16:creationId xmlns:a16="http://schemas.microsoft.com/office/drawing/2014/main" id="{E21CAFE0-D18F-4778-83E3-A9949B57F6C1}"/>
              </a:ext>
            </a:extLst>
          </p:cNvPr>
          <p:cNvSpPr>
            <a:spLocks noGrp="1"/>
          </p:cNvSpPr>
          <p:nvPr>
            <p:custDataLst>
              <p:tags r:id="rId9"/>
            </p:custDataLst>
          </p:nvPr>
        </p:nvSpPr>
        <p:spPr bwMode="auto">
          <a:xfrm>
            <a:off x="4564064" y="938288"/>
            <a:ext cx="11160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F471A72B-7863-4BEA-81A6-84EA79C31E87}" type="datetime'''''''''''''''''J''''''an'''''''''''''''''''''''''''''''">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Jan</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Text Placeholder 2">
            <a:extLst>
              <a:ext uri="{FF2B5EF4-FFF2-40B4-BE49-F238E27FC236}">
                <a16:creationId xmlns:a16="http://schemas.microsoft.com/office/drawing/2014/main" id="{168B04C9-8FF4-4F01-9DD8-5E256179AFE1}"/>
              </a:ext>
            </a:extLst>
          </p:cNvPr>
          <p:cNvSpPr>
            <a:spLocks noGrp="1"/>
          </p:cNvSpPr>
          <p:nvPr>
            <p:custDataLst>
              <p:tags r:id="rId10"/>
            </p:custDataLst>
          </p:nvPr>
        </p:nvSpPr>
        <p:spPr bwMode="auto">
          <a:xfrm>
            <a:off x="5680076" y="938288"/>
            <a:ext cx="1006475"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84A78E3-2FEE-4A3B-8D0E-C9A3341E1B34}" type="datetime'''''''''''''''''''''''''''''F''''''''e''''b'''''''''''">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Feb</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Text Placeholder 2">
            <a:extLst>
              <a:ext uri="{FF2B5EF4-FFF2-40B4-BE49-F238E27FC236}">
                <a16:creationId xmlns:a16="http://schemas.microsoft.com/office/drawing/2014/main" id="{DB280A2F-DFAE-47CA-8768-24DEE1EC8E78}"/>
              </a:ext>
            </a:extLst>
          </p:cNvPr>
          <p:cNvSpPr>
            <a:spLocks noGrp="1"/>
          </p:cNvSpPr>
          <p:nvPr>
            <p:custDataLst>
              <p:tags r:id="rId11"/>
            </p:custDataLst>
          </p:nvPr>
        </p:nvSpPr>
        <p:spPr bwMode="auto">
          <a:xfrm>
            <a:off x="6686551" y="938288"/>
            <a:ext cx="11160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1D2E2A3-51BC-4606-97FA-9F62E90AD5BC}" type="datetime'''''''''''''''''''''''''M''''''''''''''''a''r'''''">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Mar</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5" name="Text Placeholder 2">
            <a:extLst>
              <a:ext uri="{FF2B5EF4-FFF2-40B4-BE49-F238E27FC236}">
                <a16:creationId xmlns:a16="http://schemas.microsoft.com/office/drawing/2014/main" id="{445F60F6-B5BB-4358-A762-194A23EB879A}"/>
              </a:ext>
            </a:extLst>
          </p:cNvPr>
          <p:cNvSpPr>
            <a:spLocks noGrp="1"/>
          </p:cNvSpPr>
          <p:nvPr>
            <p:custDataLst>
              <p:tags r:id="rId12"/>
            </p:custDataLst>
          </p:nvPr>
        </p:nvSpPr>
        <p:spPr bwMode="auto">
          <a:xfrm>
            <a:off x="7802563" y="938288"/>
            <a:ext cx="1079500"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4E7E778-11B7-4B3E-83C1-2837577B2646}" type="datetime'''''''''A''''p''''''''''''r'''''''''''''''''''''''">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Apr</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Text Placeholder 2">
            <a:extLst>
              <a:ext uri="{FF2B5EF4-FFF2-40B4-BE49-F238E27FC236}">
                <a16:creationId xmlns:a16="http://schemas.microsoft.com/office/drawing/2014/main" id="{4666FC9C-FEA8-4F73-85A0-D5BD532210F6}"/>
              </a:ext>
            </a:extLst>
          </p:cNvPr>
          <p:cNvSpPr>
            <a:spLocks noGrp="1"/>
          </p:cNvSpPr>
          <p:nvPr>
            <p:custDataLst>
              <p:tags r:id="rId13"/>
            </p:custDataLst>
          </p:nvPr>
        </p:nvSpPr>
        <p:spPr bwMode="auto">
          <a:xfrm>
            <a:off x="8882063" y="938288"/>
            <a:ext cx="1114425"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7E87B90A-9C3E-4485-A381-EE9DC983E118}" type="datetime'M''''''''''''''''''''''''''''a''y'''''''''''''''''''''''''''''">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May</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Text Placeholder 2">
            <a:extLst>
              <a:ext uri="{FF2B5EF4-FFF2-40B4-BE49-F238E27FC236}">
                <a16:creationId xmlns:a16="http://schemas.microsoft.com/office/drawing/2014/main" id="{503B2EF5-8E2A-40AC-AFF6-A6D78D1F6E90}"/>
              </a:ext>
            </a:extLst>
          </p:cNvPr>
          <p:cNvSpPr>
            <a:spLocks noGrp="1"/>
          </p:cNvSpPr>
          <p:nvPr>
            <p:custDataLst>
              <p:tags r:id="rId14"/>
            </p:custDataLst>
          </p:nvPr>
        </p:nvSpPr>
        <p:spPr bwMode="auto">
          <a:xfrm>
            <a:off x="9996488" y="938288"/>
            <a:ext cx="1079500"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38FF677-E98C-4138-BE63-0A5665A0E624}" type="datetime'''''''''''''''''''''''''J''u''''''''''''''''''''''''n'''''''">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Jun</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7" name="Text Placeholder 2">
            <a:extLst>
              <a:ext uri="{FF2B5EF4-FFF2-40B4-BE49-F238E27FC236}">
                <a16:creationId xmlns:a16="http://schemas.microsoft.com/office/drawing/2014/main" id="{4CFD2C97-375E-41F1-9E34-81E2982718CE}"/>
              </a:ext>
            </a:extLst>
          </p:cNvPr>
          <p:cNvSpPr>
            <a:spLocks noGrp="1"/>
          </p:cNvSpPr>
          <p:nvPr>
            <p:custDataLst>
              <p:tags r:id="rId15"/>
            </p:custDataLst>
          </p:nvPr>
        </p:nvSpPr>
        <p:spPr bwMode="auto">
          <a:xfrm>
            <a:off x="11075989" y="938288"/>
            <a:ext cx="11160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CDBA6D4-4F62-4322-A6FA-98D3534D9C08}" type="datetime'''''''''''''''''''''J''''u''l'''''''''''''''">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Jul</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Text Placeholder 2">
            <a:extLst>
              <a:ext uri="{FF2B5EF4-FFF2-40B4-BE49-F238E27FC236}">
                <a16:creationId xmlns:a16="http://schemas.microsoft.com/office/drawing/2014/main" id="{9B8A120B-DE43-4102-A6F8-09A89A1B64FD}"/>
              </a:ext>
            </a:extLst>
          </p:cNvPr>
          <p:cNvSpPr>
            <a:spLocks noGrp="1"/>
          </p:cNvSpPr>
          <p:nvPr>
            <p:custDataLst>
              <p:tags r:id="rId16"/>
            </p:custDataLst>
          </p:nvPr>
        </p:nvSpPr>
        <p:spPr bwMode="auto">
          <a:xfrm>
            <a:off x="1254125" y="1178000"/>
            <a:ext cx="107950"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Text Placeholder 2">
            <a:extLst>
              <a:ext uri="{FF2B5EF4-FFF2-40B4-BE49-F238E27FC236}">
                <a16:creationId xmlns:a16="http://schemas.microsoft.com/office/drawing/2014/main" id="{DF1DEFE4-C0C6-40F5-826E-15231B3D570A}"/>
              </a:ext>
            </a:extLst>
          </p:cNvPr>
          <p:cNvSpPr>
            <a:spLocks noGrp="1"/>
          </p:cNvSpPr>
          <p:nvPr>
            <p:custDataLst>
              <p:tags r:id="rId17"/>
            </p:custDataLst>
          </p:nvPr>
        </p:nvSpPr>
        <p:spPr bwMode="auto">
          <a:xfrm>
            <a:off x="1362075"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9BD12FA-5595-46EA-AB9A-0C86960ECFA4}" type="datetime'''0''''4''.'''''''''''''''''''''''''''''''''''">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4.</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Text Placeholder 2">
            <a:extLst>
              <a:ext uri="{FF2B5EF4-FFF2-40B4-BE49-F238E27FC236}">
                <a16:creationId xmlns:a16="http://schemas.microsoft.com/office/drawing/2014/main" id="{FDD81A06-687B-4509-B459-3A6D2A552E21}"/>
              </a:ext>
            </a:extLst>
          </p:cNvPr>
          <p:cNvSpPr>
            <a:spLocks noGrp="1"/>
          </p:cNvSpPr>
          <p:nvPr>
            <p:custDataLst>
              <p:tags r:id="rId18"/>
            </p:custDataLst>
          </p:nvPr>
        </p:nvSpPr>
        <p:spPr bwMode="auto">
          <a:xfrm>
            <a:off x="1614488" y="1178000"/>
            <a:ext cx="250825"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E24356B-A853-4B62-B318-4F3123190704}" type="datetime'''''''''''1''''''''''''''''''''''''''''''''''''''1.'''''">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Text Placeholder 2">
            <a:extLst>
              <a:ext uri="{FF2B5EF4-FFF2-40B4-BE49-F238E27FC236}">
                <a16:creationId xmlns:a16="http://schemas.microsoft.com/office/drawing/2014/main" id="{3BC1B5FC-4A80-41BE-866A-EB5F4C947491}"/>
              </a:ext>
            </a:extLst>
          </p:cNvPr>
          <p:cNvSpPr>
            <a:spLocks noGrp="1"/>
          </p:cNvSpPr>
          <p:nvPr>
            <p:custDataLst>
              <p:tags r:id="rId19"/>
            </p:custDataLst>
          </p:nvPr>
        </p:nvSpPr>
        <p:spPr bwMode="auto">
          <a:xfrm>
            <a:off x="1865313"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4CE2135-2FEA-486E-9DD1-726CD993C0B9}" type="datetime'1''''''''''8''''''''''''''''''''''''''''''''''''''''.'''">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8.</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Text Placeholder 2">
            <a:extLst>
              <a:ext uri="{FF2B5EF4-FFF2-40B4-BE49-F238E27FC236}">
                <a16:creationId xmlns:a16="http://schemas.microsoft.com/office/drawing/2014/main" id="{3A852DBF-FB9F-4C07-80D1-065DF495C300}"/>
              </a:ext>
            </a:extLst>
          </p:cNvPr>
          <p:cNvSpPr>
            <a:spLocks noGrp="1"/>
          </p:cNvSpPr>
          <p:nvPr>
            <p:custDataLst>
              <p:tags r:id="rId20"/>
            </p:custDataLst>
          </p:nvPr>
        </p:nvSpPr>
        <p:spPr bwMode="auto">
          <a:xfrm>
            <a:off x="2117725"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3895A67-84A2-4680-95B0-B99B201C8E29}" type="datetime'''''2''''5.'''''''''''''''''''''''''''''''''''''''''">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5.</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Text Placeholder 2">
            <a:extLst>
              <a:ext uri="{FF2B5EF4-FFF2-40B4-BE49-F238E27FC236}">
                <a16:creationId xmlns:a16="http://schemas.microsoft.com/office/drawing/2014/main" id="{8928F74B-905C-4927-B282-028292BAB44F}"/>
              </a:ext>
            </a:extLst>
          </p:cNvPr>
          <p:cNvSpPr>
            <a:spLocks noGrp="1"/>
          </p:cNvSpPr>
          <p:nvPr>
            <p:custDataLst>
              <p:tags r:id="rId21"/>
            </p:custDataLst>
          </p:nvPr>
        </p:nvSpPr>
        <p:spPr bwMode="auto">
          <a:xfrm>
            <a:off x="2370138" y="1178000"/>
            <a:ext cx="250825"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513C84A-D50E-43CE-BA42-D0811DB22DDB}" type="datetime'''''''''''''''0''''''''''''''''''''''''1''.'''''''''''''">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1.</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 name="Text Placeholder 2">
            <a:extLst>
              <a:ext uri="{FF2B5EF4-FFF2-40B4-BE49-F238E27FC236}">
                <a16:creationId xmlns:a16="http://schemas.microsoft.com/office/drawing/2014/main" id="{25085FCD-BA4F-428C-8002-6BFB4BC7AB7A}"/>
              </a:ext>
            </a:extLst>
          </p:cNvPr>
          <p:cNvSpPr>
            <a:spLocks noGrp="1"/>
          </p:cNvSpPr>
          <p:nvPr>
            <p:custDataLst>
              <p:tags r:id="rId22"/>
            </p:custDataLst>
          </p:nvPr>
        </p:nvSpPr>
        <p:spPr bwMode="auto">
          <a:xfrm>
            <a:off x="2620963"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14210F1-023E-4815-AB54-DBB84199C2A2}" type="datetime'''0''''''''''''''''''''''''''''8''''''''''''''.'''''''''''''''">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8.</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Text Placeholder 2">
            <a:extLst>
              <a:ext uri="{FF2B5EF4-FFF2-40B4-BE49-F238E27FC236}">
                <a16:creationId xmlns:a16="http://schemas.microsoft.com/office/drawing/2014/main" id="{79C0BAA3-CA95-484A-AC94-875370D654BD}"/>
              </a:ext>
            </a:extLst>
          </p:cNvPr>
          <p:cNvSpPr>
            <a:spLocks noGrp="1"/>
          </p:cNvSpPr>
          <p:nvPr>
            <p:custDataLst>
              <p:tags r:id="rId23"/>
            </p:custDataLst>
          </p:nvPr>
        </p:nvSpPr>
        <p:spPr bwMode="auto">
          <a:xfrm>
            <a:off x="2873375"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3C5A68B-FB92-4DCB-BA50-5EA9A7A0A068}" type="datetime'''''''15.'''''''''''''''''">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5.</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Text Placeholder 2">
            <a:extLst>
              <a:ext uri="{FF2B5EF4-FFF2-40B4-BE49-F238E27FC236}">
                <a16:creationId xmlns:a16="http://schemas.microsoft.com/office/drawing/2014/main" id="{B14379CF-D915-4FC4-8BB3-53A3C4C869FC}"/>
              </a:ext>
            </a:extLst>
          </p:cNvPr>
          <p:cNvSpPr>
            <a:spLocks noGrp="1"/>
          </p:cNvSpPr>
          <p:nvPr>
            <p:custDataLst>
              <p:tags r:id="rId24"/>
            </p:custDataLst>
          </p:nvPr>
        </p:nvSpPr>
        <p:spPr bwMode="auto">
          <a:xfrm>
            <a:off x="3125788" y="1178000"/>
            <a:ext cx="250825"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FBB0531C-6934-413A-A746-4F407D411594}" type="datetime'''''''''2''''''''''''''''''2''''''''''''''''''.'''''''''">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2.</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Text Placeholder 2">
            <a:extLst>
              <a:ext uri="{FF2B5EF4-FFF2-40B4-BE49-F238E27FC236}">
                <a16:creationId xmlns:a16="http://schemas.microsoft.com/office/drawing/2014/main" id="{981BB72C-BA70-47FE-8AA1-06FE23D953FD}"/>
              </a:ext>
            </a:extLst>
          </p:cNvPr>
          <p:cNvSpPr>
            <a:spLocks noGrp="1"/>
          </p:cNvSpPr>
          <p:nvPr>
            <p:custDataLst>
              <p:tags r:id="rId25"/>
            </p:custDataLst>
          </p:nvPr>
        </p:nvSpPr>
        <p:spPr bwMode="auto">
          <a:xfrm>
            <a:off x="3376613"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BDE6EE4-EF68-4C79-A0E3-FF35AC40A713}" type="datetime'''''''''''''''''''''''''''''''''''2''''''''''''''''''''9.'">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9.</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Text Placeholder 2">
            <a:extLst>
              <a:ext uri="{FF2B5EF4-FFF2-40B4-BE49-F238E27FC236}">
                <a16:creationId xmlns:a16="http://schemas.microsoft.com/office/drawing/2014/main" id="{DAD26ABF-3A23-41BF-9901-BE982D657CDC}"/>
              </a:ext>
            </a:extLst>
          </p:cNvPr>
          <p:cNvSpPr>
            <a:spLocks noGrp="1"/>
          </p:cNvSpPr>
          <p:nvPr>
            <p:custDataLst>
              <p:tags r:id="rId26"/>
            </p:custDataLst>
          </p:nvPr>
        </p:nvSpPr>
        <p:spPr bwMode="auto">
          <a:xfrm>
            <a:off x="3629025"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5BF2B4A8-8D31-4313-95C3-C03F4E9E4459}" type="datetime'0''''''''''''''''''6''.'''''''">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6.</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Text Placeholder 2">
            <a:extLst>
              <a:ext uri="{FF2B5EF4-FFF2-40B4-BE49-F238E27FC236}">
                <a16:creationId xmlns:a16="http://schemas.microsoft.com/office/drawing/2014/main" id="{74737A17-4E37-435F-9D05-9BBE7A070A7E}"/>
              </a:ext>
            </a:extLst>
          </p:cNvPr>
          <p:cNvSpPr>
            <a:spLocks noGrp="1"/>
          </p:cNvSpPr>
          <p:nvPr>
            <p:custDataLst>
              <p:tags r:id="rId27"/>
            </p:custDataLst>
          </p:nvPr>
        </p:nvSpPr>
        <p:spPr bwMode="auto">
          <a:xfrm>
            <a:off x="3881438" y="1178000"/>
            <a:ext cx="250825"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6D2BD06-7529-4A6A-8AB1-7845C3361755}" type="datetime'''1''''''''''''''3''''.'''''''''''''''''''''''">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3.</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Text Placeholder 2">
            <a:extLst>
              <a:ext uri="{FF2B5EF4-FFF2-40B4-BE49-F238E27FC236}">
                <a16:creationId xmlns:a16="http://schemas.microsoft.com/office/drawing/2014/main" id="{A61748DE-D069-4642-BA30-02E639FD151A}"/>
              </a:ext>
            </a:extLst>
          </p:cNvPr>
          <p:cNvSpPr>
            <a:spLocks noGrp="1"/>
          </p:cNvSpPr>
          <p:nvPr>
            <p:custDataLst>
              <p:tags r:id="rId28"/>
            </p:custDataLst>
          </p:nvPr>
        </p:nvSpPr>
        <p:spPr bwMode="auto">
          <a:xfrm>
            <a:off x="4132263"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F8F233D-92BC-4DD0-9562-B13D0F80A199}" type="datetime'''''''''''''2''''''''''''''''0''''''.'''''''''''''''''">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Text Placeholder 2">
            <a:extLst>
              <a:ext uri="{FF2B5EF4-FFF2-40B4-BE49-F238E27FC236}">
                <a16:creationId xmlns:a16="http://schemas.microsoft.com/office/drawing/2014/main" id="{C0163A2A-7025-4C16-8C24-FF0F21516F32}"/>
              </a:ext>
            </a:extLst>
          </p:cNvPr>
          <p:cNvSpPr>
            <a:spLocks noGrp="1"/>
          </p:cNvSpPr>
          <p:nvPr>
            <p:custDataLst>
              <p:tags r:id="rId29"/>
            </p:custDataLst>
          </p:nvPr>
        </p:nvSpPr>
        <p:spPr bwMode="auto">
          <a:xfrm>
            <a:off x="4384675" y="1178000"/>
            <a:ext cx="250825"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0A133D9-F609-4379-A528-F67F8F7002F3}" type="datetime'''''''''''''''''''''''''''''''''''''''''''''''''''27.'''''''">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7.</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 Placeholder 2">
            <a:extLst>
              <a:ext uri="{FF2B5EF4-FFF2-40B4-BE49-F238E27FC236}">
                <a16:creationId xmlns:a16="http://schemas.microsoft.com/office/drawing/2014/main" id="{1CF45F6E-8506-4605-98BF-99C46CF980AE}"/>
              </a:ext>
            </a:extLst>
          </p:cNvPr>
          <p:cNvSpPr>
            <a:spLocks noGrp="1"/>
          </p:cNvSpPr>
          <p:nvPr>
            <p:custDataLst>
              <p:tags r:id="rId30"/>
            </p:custDataLst>
          </p:nvPr>
        </p:nvSpPr>
        <p:spPr bwMode="auto">
          <a:xfrm>
            <a:off x="4635500"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CF257A7-6160-4220-BC8C-C3E486956BF3}" type="datetime'''''''''''''''''0''''''''''''''''''''''3.'''">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3.</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 name="Text Placeholder 2">
            <a:extLst>
              <a:ext uri="{FF2B5EF4-FFF2-40B4-BE49-F238E27FC236}">
                <a16:creationId xmlns:a16="http://schemas.microsoft.com/office/drawing/2014/main" id="{6603535C-B6F5-48B1-A295-AA0517865B7F}"/>
              </a:ext>
            </a:extLst>
          </p:cNvPr>
          <p:cNvSpPr>
            <a:spLocks noGrp="1"/>
          </p:cNvSpPr>
          <p:nvPr>
            <p:custDataLst>
              <p:tags r:id="rId31"/>
            </p:custDataLst>
          </p:nvPr>
        </p:nvSpPr>
        <p:spPr bwMode="auto">
          <a:xfrm>
            <a:off x="4887913"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3CB6E65-DF6B-430B-816C-D1588F2732BE}" type="datetime'''''1''''0''''''''''''''''''''.'''''''''''''''''''''''">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0.</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8" name="Text Placeholder 2">
            <a:extLst>
              <a:ext uri="{FF2B5EF4-FFF2-40B4-BE49-F238E27FC236}">
                <a16:creationId xmlns:a16="http://schemas.microsoft.com/office/drawing/2014/main" id="{8C26BDE5-6733-499E-A117-C24694ED17B3}"/>
              </a:ext>
            </a:extLst>
          </p:cNvPr>
          <p:cNvSpPr>
            <a:spLocks noGrp="1"/>
          </p:cNvSpPr>
          <p:nvPr>
            <p:custDataLst>
              <p:tags r:id="rId32"/>
            </p:custDataLst>
          </p:nvPr>
        </p:nvSpPr>
        <p:spPr bwMode="auto">
          <a:xfrm>
            <a:off x="5140325" y="1178000"/>
            <a:ext cx="250825"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4CABF5C-8ACF-4708-B389-749E21B92821}" type="datetime'''''''''''''''''''1''''''''''''7''''''''''.'''''''">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7.</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 name="Text Placeholder 2">
            <a:extLst>
              <a:ext uri="{FF2B5EF4-FFF2-40B4-BE49-F238E27FC236}">
                <a16:creationId xmlns:a16="http://schemas.microsoft.com/office/drawing/2014/main" id="{4B30BA64-C6E5-4821-9285-2579B7592AAD}"/>
              </a:ext>
            </a:extLst>
          </p:cNvPr>
          <p:cNvSpPr>
            <a:spLocks noGrp="1"/>
          </p:cNvSpPr>
          <p:nvPr>
            <p:custDataLst>
              <p:tags r:id="rId33"/>
            </p:custDataLst>
          </p:nvPr>
        </p:nvSpPr>
        <p:spPr bwMode="auto">
          <a:xfrm>
            <a:off x="5391150"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79037A7-0A0E-40D8-A260-68A8406FB143}" type="datetime'''''''''''''''''''''''2''''''''''''''''''4''''.'">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4.</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0" name="Text Placeholder 2">
            <a:extLst>
              <a:ext uri="{FF2B5EF4-FFF2-40B4-BE49-F238E27FC236}">
                <a16:creationId xmlns:a16="http://schemas.microsoft.com/office/drawing/2014/main" id="{A7A44D23-ED40-4FBC-84D7-DC31BA3E637C}"/>
              </a:ext>
            </a:extLst>
          </p:cNvPr>
          <p:cNvSpPr>
            <a:spLocks noGrp="1"/>
          </p:cNvSpPr>
          <p:nvPr>
            <p:custDataLst>
              <p:tags r:id="rId34"/>
            </p:custDataLst>
          </p:nvPr>
        </p:nvSpPr>
        <p:spPr bwMode="auto">
          <a:xfrm>
            <a:off x="5643563"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3CAA544-EE4A-427E-842B-DCD0F72C62D1}" type="datetime'''''''3''''''''''''''''''''''1.'''">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1.</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 name="Text Placeholder 2">
            <a:extLst>
              <a:ext uri="{FF2B5EF4-FFF2-40B4-BE49-F238E27FC236}">
                <a16:creationId xmlns:a16="http://schemas.microsoft.com/office/drawing/2014/main" id="{54D94654-7E50-4303-8459-301C982F7C7B}"/>
              </a:ext>
            </a:extLst>
          </p:cNvPr>
          <p:cNvSpPr>
            <a:spLocks noGrp="1"/>
          </p:cNvSpPr>
          <p:nvPr>
            <p:custDataLst>
              <p:tags r:id="rId35"/>
            </p:custDataLst>
          </p:nvPr>
        </p:nvSpPr>
        <p:spPr bwMode="auto">
          <a:xfrm>
            <a:off x="5895975" y="1178000"/>
            <a:ext cx="250825"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E36BE33-5034-4906-8EFE-FB198617D825}" type="datetime'''0''''''''''''''''''''''''''''''''''7.'''''''''''''''''">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7.</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 name="Text Placeholder 2">
            <a:extLst>
              <a:ext uri="{FF2B5EF4-FFF2-40B4-BE49-F238E27FC236}">
                <a16:creationId xmlns:a16="http://schemas.microsoft.com/office/drawing/2014/main" id="{0B6C208C-94B5-4A9C-85A9-EFA20D6D97BB}"/>
              </a:ext>
            </a:extLst>
          </p:cNvPr>
          <p:cNvSpPr>
            <a:spLocks noGrp="1"/>
          </p:cNvSpPr>
          <p:nvPr>
            <p:custDataLst>
              <p:tags r:id="rId36"/>
            </p:custDataLst>
          </p:nvPr>
        </p:nvSpPr>
        <p:spPr bwMode="auto">
          <a:xfrm>
            <a:off x="6146800"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214BE78-9265-4D85-B7EA-2C597C5747A1}" type="datetime'''''''''''1''''''''4.'''''''''''''''''''''''">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4.</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3" name="Text Placeholder 2">
            <a:extLst>
              <a:ext uri="{FF2B5EF4-FFF2-40B4-BE49-F238E27FC236}">
                <a16:creationId xmlns:a16="http://schemas.microsoft.com/office/drawing/2014/main" id="{DEBCCAD6-2AA6-4567-973A-A6E83956373B}"/>
              </a:ext>
            </a:extLst>
          </p:cNvPr>
          <p:cNvSpPr>
            <a:spLocks noGrp="1"/>
          </p:cNvSpPr>
          <p:nvPr>
            <p:custDataLst>
              <p:tags r:id="rId37"/>
            </p:custDataLst>
          </p:nvPr>
        </p:nvSpPr>
        <p:spPr bwMode="auto">
          <a:xfrm>
            <a:off x="6399213"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40734C5-F698-48E2-ABAB-9918AA162497}" type="datetime'''''''''''''''''21''''.'''''''''''''''''">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1.</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4" name="Text Placeholder 2">
            <a:extLst>
              <a:ext uri="{FF2B5EF4-FFF2-40B4-BE49-F238E27FC236}">
                <a16:creationId xmlns:a16="http://schemas.microsoft.com/office/drawing/2014/main" id="{6CCC4F42-5048-40E2-BCCF-4AA468B65C32}"/>
              </a:ext>
            </a:extLst>
          </p:cNvPr>
          <p:cNvSpPr>
            <a:spLocks noGrp="1"/>
          </p:cNvSpPr>
          <p:nvPr>
            <p:custDataLst>
              <p:tags r:id="rId38"/>
            </p:custDataLst>
          </p:nvPr>
        </p:nvSpPr>
        <p:spPr bwMode="auto">
          <a:xfrm>
            <a:off x="6651625" y="1178000"/>
            <a:ext cx="250825"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2111506-701C-40D4-A46C-BD0CF703A794}" type="datetime'''''''''''''''''''''2''''8''''''''''''.'''''''''''''">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8.</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5" name="Text Placeholder 2">
            <a:extLst>
              <a:ext uri="{FF2B5EF4-FFF2-40B4-BE49-F238E27FC236}">
                <a16:creationId xmlns:a16="http://schemas.microsoft.com/office/drawing/2014/main" id="{F717A558-06FF-4B64-98F1-2FDD8765E87A}"/>
              </a:ext>
            </a:extLst>
          </p:cNvPr>
          <p:cNvSpPr>
            <a:spLocks noGrp="1"/>
          </p:cNvSpPr>
          <p:nvPr>
            <p:custDataLst>
              <p:tags r:id="rId39"/>
            </p:custDataLst>
          </p:nvPr>
        </p:nvSpPr>
        <p:spPr bwMode="auto">
          <a:xfrm>
            <a:off x="6902450"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FE7459D-E0F5-4964-8075-ED38D6DFE85C}" type="datetime'''''''0''''''7''''''''''''''''''''''''''.'''''''''''''''">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7.</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6" name="Text Placeholder 2">
            <a:extLst>
              <a:ext uri="{FF2B5EF4-FFF2-40B4-BE49-F238E27FC236}">
                <a16:creationId xmlns:a16="http://schemas.microsoft.com/office/drawing/2014/main" id="{9098384A-E5C1-4CB6-A1CA-5AFD4D324050}"/>
              </a:ext>
            </a:extLst>
          </p:cNvPr>
          <p:cNvSpPr>
            <a:spLocks noGrp="1"/>
          </p:cNvSpPr>
          <p:nvPr>
            <p:custDataLst>
              <p:tags r:id="rId40"/>
            </p:custDataLst>
          </p:nvPr>
        </p:nvSpPr>
        <p:spPr bwMode="auto">
          <a:xfrm>
            <a:off x="7154863"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52B15D60-D7FE-4FD1-BAE0-1EB510744843}" type="datetime'''''14''''''''''''''''''''''''''''''''''''''.'">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4.</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7" name="Text Placeholder 2">
            <a:extLst>
              <a:ext uri="{FF2B5EF4-FFF2-40B4-BE49-F238E27FC236}">
                <a16:creationId xmlns:a16="http://schemas.microsoft.com/office/drawing/2014/main" id="{1AD4FCDD-9944-4030-9BEB-C91D77FDFC77}"/>
              </a:ext>
            </a:extLst>
          </p:cNvPr>
          <p:cNvSpPr>
            <a:spLocks noGrp="1"/>
          </p:cNvSpPr>
          <p:nvPr>
            <p:custDataLst>
              <p:tags r:id="rId41"/>
            </p:custDataLst>
          </p:nvPr>
        </p:nvSpPr>
        <p:spPr bwMode="auto">
          <a:xfrm>
            <a:off x="7407275" y="1178000"/>
            <a:ext cx="250825"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5F2E483-BECE-47DC-9E9A-06DD7EEB56CB}" type="datetime'''''''''2''''''''''''1.'''''''''''''''">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1.</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8" name="Text Placeholder 2">
            <a:extLst>
              <a:ext uri="{FF2B5EF4-FFF2-40B4-BE49-F238E27FC236}">
                <a16:creationId xmlns:a16="http://schemas.microsoft.com/office/drawing/2014/main" id="{518864B0-C501-4873-A432-ADECAF0A296F}"/>
              </a:ext>
            </a:extLst>
          </p:cNvPr>
          <p:cNvSpPr>
            <a:spLocks noGrp="1"/>
          </p:cNvSpPr>
          <p:nvPr>
            <p:custDataLst>
              <p:tags r:id="rId42"/>
            </p:custDataLst>
          </p:nvPr>
        </p:nvSpPr>
        <p:spPr bwMode="auto">
          <a:xfrm>
            <a:off x="7658100"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A5C32A1-1DDD-4F0E-A378-6DC256943CE0}" type="datetime'''''''''''''''''''''''''2''''''''''''''''''8''''''''''.'''''">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8.</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9" name="Text Placeholder 2">
            <a:extLst>
              <a:ext uri="{FF2B5EF4-FFF2-40B4-BE49-F238E27FC236}">
                <a16:creationId xmlns:a16="http://schemas.microsoft.com/office/drawing/2014/main" id="{7658CBFB-0982-47F1-B2B3-77CBF28884D0}"/>
              </a:ext>
            </a:extLst>
          </p:cNvPr>
          <p:cNvSpPr>
            <a:spLocks noGrp="1"/>
          </p:cNvSpPr>
          <p:nvPr>
            <p:custDataLst>
              <p:tags r:id="rId43"/>
            </p:custDataLst>
          </p:nvPr>
        </p:nvSpPr>
        <p:spPr bwMode="auto">
          <a:xfrm>
            <a:off x="7910513"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33CC8C7-B943-42C2-BFCF-90454B4E9365}" type="datetime'0''''''''''''4''''''''''.'''''''''''''''''''''''''''''''''''">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4.</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Text Placeholder 2">
            <a:extLst>
              <a:ext uri="{FF2B5EF4-FFF2-40B4-BE49-F238E27FC236}">
                <a16:creationId xmlns:a16="http://schemas.microsoft.com/office/drawing/2014/main" id="{E286D325-F735-4EBA-A05E-2DBD4167B358}"/>
              </a:ext>
            </a:extLst>
          </p:cNvPr>
          <p:cNvSpPr>
            <a:spLocks noGrp="1"/>
          </p:cNvSpPr>
          <p:nvPr>
            <p:custDataLst>
              <p:tags r:id="rId44"/>
            </p:custDataLst>
          </p:nvPr>
        </p:nvSpPr>
        <p:spPr bwMode="auto">
          <a:xfrm>
            <a:off x="8162925" y="1178000"/>
            <a:ext cx="250825"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F828CE56-1DEC-405C-8990-98470FD5D18E}" type="datetime'''''''''''''''1''''''1''''''''.'''''''''''''''''''''">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Text Placeholder 2">
            <a:extLst>
              <a:ext uri="{FF2B5EF4-FFF2-40B4-BE49-F238E27FC236}">
                <a16:creationId xmlns:a16="http://schemas.microsoft.com/office/drawing/2014/main" id="{E73624B9-EDAE-43F7-BA5C-A68896EC0BF0}"/>
              </a:ext>
            </a:extLst>
          </p:cNvPr>
          <p:cNvSpPr>
            <a:spLocks noGrp="1"/>
          </p:cNvSpPr>
          <p:nvPr>
            <p:custDataLst>
              <p:tags r:id="rId45"/>
            </p:custDataLst>
          </p:nvPr>
        </p:nvSpPr>
        <p:spPr bwMode="auto">
          <a:xfrm>
            <a:off x="8413750"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CCB0E30-6B95-46AB-9919-39B1B434879A}" type="datetime'''''''''''''''1''''''''8.'''''''''''''''''''''''''''''''''''">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8.</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Text Placeholder 2">
            <a:extLst>
              <a:ext uri="{FF2B5EF4-FFF2-40B4-BE49-F238E27FC236}">
                <a16:creationId xmlns:a16="http://schemas.microsoft.com/office/drawing/2014/main" id="{250B4BA0-EF08-4A10-B8B6-0300671BBF86}"/>
              </a:ext>
            </a:extLst>
          </p:cNvPr>
          <p:cNvSpPr>
            <a:spLocks noGrp="1"/>
          </p:cNvSpPr>
          <p:nvPr>
            <p:custDataLst>
              <p:tags r:id="rId46"/>
            </p:custDataLst>
          </p:nvPr>
        </p:nvSpPr>
        <p:spPr bwMode="auto">
          <a:xfrm>
            <a:off x="8666163"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D60B1F9-E964-4DB4-B54D-6B38B8C6C5AF}" type="datetime'''2''''''''''''''''''''''''''5''''''.'''''''''''''''">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5.</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3" name="Text Placeholder 2">
            <a:extLst>
              <a:ext uri="{FF2B5EF4-FFF2-40B4-BE49-F238E27FC236}">
                <a16:creationId xmlns:a16="http://schemas.microsoft.com/office/drawing/2014/main" id="{F2CCE436-9180-4DD1-9D96-28D7D5827F02}"/>
              </a:ext>
            </a:extLst>
          </p:cNvPr>
          <p:cNvSpPr>
            <a:spLocks noGrp="1"/>
          </p:cNvSpPr>
          <p:nvPr>
            <p:custDataLst>
              <p:tags r:id="rId47"/>
            </p:custDataLst>
          </p:nvPr>
        </p:nvSpPr>
        <p:spPr bwMode="auto">
          <a:xfrm>
            <a:off x="8918575" y="1178000"/>
            <a:ext cx="250825"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723AB24-0849-435A-8165-D5568AC64E2D}" type="datetime'''''''''''''''0''''''''''''''''''''''''''''''''''''2.'''''">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2.</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Text Placeholder 2">
            <a:extLst>
              <a:ext uri="{FF2B5EF4-FFF2-40B4-BE49-F238E27FC236}">
                <a16:creationId xmlns:a16="http://schemas.microsoft.com/office/drawing/2014/main" id="{C7B1DD55-BF50-4E06-A02C-BAC4289A66C5}"/>
              </a:ext>
            </a:extLst>
          </p:cNvPr>
          <p:cNvSpPr>
            <a:spLocks noGrp="1"/>
          </p:cNvSpPr>
          <p:nvPr>
            <p:custDataLst>
              <p:tags r:id="rId48"/>
            </p:custDataLst>
          </p:nvPr>
        </p:nvSpPr>
        <p:spPr bwMode="auto">
          <a:xfrm>
            <a:off x="9169400"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1B9C483-A45F-4E90-B391-F1AC1B22578B}" type="datetime'''''''''''''0''''''9''''''''''''''''.'''">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9.</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5" name="Text Placeholder 2">
            <a:extLst>
              <a:ext uri="{FF2B5EF4-FFF2-40B4-BE49-F238E27FC236}">
                <a16:creationId xmlns:a16="http://schemas.microsoft.com/office/drawing/2014/main" id="{BAF495FB-302C-4AB0-AB44-6B03EA525565}"/>
              </a:ext>
            </a:extLst>
          </p:cNvPr>
          <p:cNvSpPr>
            <a:spLocks noGrp="1"/>
          </p:cNvSpPr>
          <p:nvPr>
            <p:custDataLst>
              <p:tags r:id="rId49"/>
            </p:custDataLst>
          </p:nvPr>
        </p:nvSpPr>
        <p:spPr bwMode="auto">
          <a:xfrm>
            <a:off x="9421813" y="1178000"/>
            <a:ext cx="250825"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751F5D3F-01AC-4D20-BA67-8AD2709ED393}" type="datetime'1''''''''''''''''''6''''''.'''''''''''''''''''''''''''''">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6.</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Text Placeholder 2">
            <a:extLst>
              <a:ext uri="{FF2B5EF4-FFF2-40B4-BE49-F238E27FC236}">
                <a16:creationId xmlns:a16="http://schemas.microsoft.com/office/drawing/2014/main" id="{8F866153-83DE-4768-9EE6-CCB18D72CE86}"/>
              </a:ext>
            </a:extLst>
          </p:cNvPr>
          <p:cNvSpPr>
            <a:spLocks noGrp="1"/>
          </p:cNvSpPr>
          <p:nvPr>
            <p:custDataLst>
              <p:tags r:id="rId50"/>
            </p:custDataLst>
          </p:nvPr>
        </p:nvSpPr>
        <p:spPr bwMode="auto">
          <a:xfrm>
            <a:off x="9672638"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670F76E-E264-48D9-B08C-D3CE6E59A3E8}" type="datetime'2''''''''3''''''''''''''''''''''''''''''''''''''.'''''">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3.</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7" name="Text Placeholder 2">
            <a:extLst>
              <a:ext uri="{FF2B5EF4-FFF2-40B4-BE49-F238E27FC236}">
                <a16:creationId xmlns:a16="http://schemas.microsoft.com/office/drawing/2014/main" id="{D1D345C7-A45A-4CAA-8653-2546A704E314}"/>
              </a:ext>
            </a:extLst>
          </p:cNvPr>
          <p:cNvSpPr>
            <a:spLocks noGrp="1"/>
          </p:cNvSpPr>
          <p:nvPr>
            <p:custDataLst>
              <p:tags r:id="rId51"/>
            </p:custDataLst>
          </p:nvPr>
        </p:nvSpPr>
        <p:spPr bwMode="auto">
          <a:xfrm>
            <a:off x="9925050"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FC688C9-D9B3-46D5-950A-74FEFA2DDB23}" type="datetime'''''''''''''''''''''''''''''3''''0''.'''''''">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0.</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Text Placeholder 2">
            <a:extLst>
              <a:ext uri="{FF2B5EF4-FFF2-40B4-BE49-F238E27FC236}">
                <a16:creationId xmlns:a16="http://schemas.microsoft.com/office/drawing/2014/main" id="{9E243B65-F635-4DEA-B137-D969C73A1B27}"/>
              </a:ext>
            </a:extLst>
          </p:cNvPr>
          <p:cNvSpPr>
            <a:spLocks noGrp="1"/>
          </p:cNvSpPr>
          <p:nvPr>
            <p:custDataLst>
              <p:tags r:id="rId52"/>
            </p:custDataLst>
          </p:nvPr>
        </p:nvSpPr>
        <p:spPr bwMode="auto">
          <a:xfrm>
            <a:off x="10177463" y="1178000"/>
            <a:ext cx="250825"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4856213-9410-41D1-8A41-78F6D9A2229E}" type="datetime'''''''''''''''''''0''''6''''.'''">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6.</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9" name="Text Placeholder 2">
            <a:extLst>
              <a:ext uri="{FF2B5EF4-FFF2-40B4-BE49-F238E27FC236}">
                <a16:creationId xmlns:a16="http://schemas.microsoft.com/office/drawing/2014/main" id="{4A9558AC-FB99-4596-9871-6AC247AAB8B8}"/>
              </a:ext>
            </a:extLst>
          </p:cNvPr>
          <p:cNvSpPr>
            <a:spLocks noGrp="1"/>
          </p:cNvSpPr>
          <p:nvPr>
            <p:custDataLst>
              <p:tags r:id="rId53"/>
            </p:custDataLst>
          </p:nvPr>
        </p:nvSpPr>
        <p:spPr bwMode="auto">
          <a:xfrm>
            <a:off x="10428288"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72CEB0A4-222D-4C49-8D13-333E77BFB4BF}" type="datetime'''''''''''''1''''''''''''''''''''''''''3''''''.'''''''''''''">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3.</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0" name="Text Placeholder 2">
            <a:extLst>
              <a:ext uri="{FF2B5EF4-FFF2-40B4-BE49-F238E27FC236}">
                <a16:creationId xmlns:a16="http://schemas.microsoft.com/office/drawing/2014/main" id="{9363249D-CE4E-412B-8398-E8CD3A685099}"/>
              </a:ext>
            </a:extLst>
          </p:cNvPr>
          <p:cNvSpPr>
            <a:spLocks noGrp="1"/>
          </p:cNvSpPr>
          <p:nvPr>
            <p:custDataLst>
              <p:tags r:id="rId54"/>
            </p:custDataLst>
          </p:nvPr>
        </p:nvSpPr>
        <p:spPr bwMode="auto">
          <a:xfrm>
            <a:off x="10680700"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F63BDDF4-5177-4EC5-BBC7-0F6700C6716C}" type="datetime'''''''''2''''''''''''''''0''''''''.'''''''''''''''''''''''">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1" name="Text Placeholder 2">
            <a:extLst>
              <a:ext uri="{FF2B5EF4-FFF2-40B4-BE49-F238E27FC236}">
                <a16:creationId xmlns:a16="http://schemas.microsoft.com/office/drawing/2014/main" id="{1BCC8C14-7AB7-4A87-9299-D64F99875558}"/>
              </a:ext>
            </a:extLst>
          </p:cNvPr>
          <p:cNvSpPr>
            <a:spLocks noGrp="1"/>
          </p:cNvSpPr>
          <p:nvPr>
            <p:custDataLst>
              <p:tags r:id="rId55"/>
            </p:custDataLst>
          </p:nvPr>
        </p:nvSpPr>
        <p:spPr bwMode="auto">
          <a:xfrm>
            <a:off x="10933113" y="1178000"/>
            <a:ext cx="250825"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D4EC7C6-5B0F-4186-B952-25BEE1609EE5}" type="datetime'''''''''''''''''''''''''''''''2''7''''''''''''''''''.'">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7.</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5" name="Text Placeholder 2">
            <a:extLst>
              <a:ext uri="{FF2B5EF4-FFF2-40B4-BE49-F238E27FC236}">
                <a16:creationId xmlns:a16="http://schemas.microsoft.com/office/drawing/2014/main" id="{6C0E5AA3-E955-4790-AEC6-C51F751EECB0}"/>
              </a:ext>
            </a:extLst>
          </p:cNvPr>
          <p:cNvSpPr>
            <a:spLocks noGrp="1"/>
          </p:cNvSpPr>
          <p:nvPr>
            <p:custDataLst>
              <p:tags r:id="rId56"/>
            </p:custDataLst>
          </p:nvPr>
        </p:nvSpPr>
        <p:spPr bwMode="auto">
          <a:xfrm>
            <a:off x="11183938"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A03296D-3C78-4A78-9F71-AB165DAA31FD}" type="datetime'''''''''''''04''''''''''''''''''''''''''''''''''''''''.'''''">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4.</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9" name="Text Placeholder 2">
            <a:extLst>
              <a:ext uri="{FF2B5EF4-FFF2-40B4-BE49-F238E27FC236}">
                <a16:creationId xmlns:a16="http://schemas.microsoft.com/office/drawing/2014/main" id="{F4B7EE21-8E3D-48D5-8BEB-55A4EECEC5D5}"/>
              </a:ext>
            </a:extLst>
          </p:cNvPr>
          <p:cNvSpPr>
            <a:spLocks noGrp="1"/>
          </p:cNvSpPr>
          <p:nvPr>
            <p:custDataLst>
              <p:tags r:id="rId57"/>
            </p:custDataLst>
          </p:nvPr>
        </p:nvSpPr>
        <p:spPr bwMode="auto">
          <a:xfrm>
            <a:off x="11436350"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BA681B4-30EA-4BFD-A8A0-8448C302A347}" type="datetime'1''''''1''.'''''''''">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1" name="Text Placeholder 2">
            <a:extLst>
              <a:ext uri="{FF2B5EF4-FFF2-40B4-BE49-F238E27FC236}">
                <a16:creationId xmlns:a16="http://schemas.microsoft.com/office/drawing/2014/main" id="{DC55BE05-E9CE-440A-A3AE-A3EF41B75FE1}"/>
              </a:ext>
            </a:extLst>
          </p:cNvPr>
          <p:cNvSpPr>
            <a:spLocks noGrp="1"/>
          </p:cNvSpPr>
          <p:nvPr>
            <p:custDataLst>
              <p:tags r:id="rId58"/>
            </p:custDataLst>
          </p:nvPr>
        </p:nvSpPr>
        <p:spPr bwMode="auto">
          <a:xfrm>
            <a:off x="11688763" y="1178000"/>
            <a:ext cx="250825"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25A4C87-FBE8-47E9-B140-FED2A2DAFF00}" type="datetime'1''''''''''''''''''''''8''''''''''''''''''''''''''''''''.'">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8.</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2" name="Text Placeholder 2">
            <a:extLst>
              <a:ext uri="{FF2B5EF4-FFF2-40B4-BE49-F238E27FC236}">
                <a16:creationId xmlns:a16="http://schemas.microsoft.com/office/drawing/2014/main" id="{5162F5E9-0206-410D-BF12-99A63798C215}"/>
              </a:ext>
            </a:extLst>
          </p:cNvPr>
          <p:cNvSpPr>
            <a:spLocks noGrp="1"/>
          </p:cNvSpPr>
          <p:nvPr>
            <p:custDataLst>
              <p:tags r:id="rId59"/>
            </p:custDataLst>
          </p:nvPr>
        </p:nvSpPr>
        <p:spPr bwMode="auto">
          <a:xfrm>
            <a:off x="11939588" y="1178000"/>
            <a:ext cx="252413" cy="239713"/>
          </a:xfrm>
          <a:prstGeom prst="rect">
            <a:avLst/>
          </a:prstGeom>
          <a:solidFill>
            <a:schemeClr val="folHlink"/>
          </a:solidFill>
          <a:ln w="9525" algn="ctr">
            <a:solidFill>
              <a:schemeClr val="tx1"/>
            </a:solidFill>
          </a:ln>
          <a:effectLst/>
        </p:spPr>
        <p:txBody>
          <a:bodyPr vert="horz" wrap="none" lIns="0" tIns="23813" rIns="0" bIns="2381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95AB30F-BF45-4F84-96E1-C50AF70CB540}" type="datetime'''''''''''''''''''''''''''''''''''''2''''''''''''5''.'''">
              <a:rPr kumimoji="0" lang="en-GB" altLang="en-US" sz="10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5.</a:t>
            </a:fld>
            <a:endPar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47" name="Straight Connector 46">
            <a:extLst>
              <a:ext uri="{FF2B5EF4-FFF2-40B4-BE49-F238E27FC236}">
                <a16:creationId xmlns:a16="http://schemas.microsoft.com/office/drawing/2014/main" id="{0A51B8B4-4AC4-4147-99F0-3E8CDEFE70DE}"/>
              </a:ext>
            </a:extLst>
          </p:cNvPr>
          <p:cNvCxnSpPr>
            <a:cxnSpLocks/>
          </p:cNvCxnSpPr>
          <p:nvPr>
            <p:custDataLst>
              <p:tags r:id="rId60"/>
            </p:custDataLst>
          </p:nvPr>
        </p:nvCxnSpPr>
        <p:spPr bwMode="auto">
          <a:xfrm>
            <a:off x="3449638" y="1417713"/>
            <a:ext cx="0" cy="49687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615C30B7-939A-4382-BF03-0B117EBE2A72}"/>
              </a:ext>
            </a:extLst>
          </p:cNvPr>
          <p:cNvCxnSpPr>
            <a:cxnSpLocks/>
          </p:cNvCxnSpPr>
          <p:nvPr>
            <p:custDataLst>
              <p:tags r:id="rId61"/>
            </p:custDataLst>
          </p:nvPr>
        </p:nvCxnSpPr>
        <p:spPr bwMode="auto">
          <a:xfrm>
            <a:off x="1254125" y="1417713"/>
            <a:ext cx="0" cy="49687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79481E51-C1C5-470B-9DC4-F642FA8F5DF9}"/>
              </a:ext>
            </a:extLst>
          </p:cNvPr>
          <p:cNvCxnSpPr/>
          <p:nvPr>
            <p:custDataLst>
              <p:tags r:id="rId62"/>
            </p:custDataLst>
          </p:nvPr>
        </p:nvCxnSpPr>
        <p:spPr bwMode="auto">
          <a:xfrm>
            <a:off x="11075988" y="1417713"/>
            <a:ext cx="0" cy="467995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B9505434-660D-48A3-9719-F1A89CA4EEA5}"/>
              </a:ext>
            </a:extLst>
          </p:cNvPr>
          <p:cNvCxnSpPr>
            <a:cxnSpLocks/>
          </p:cNvCxnSpPr>
          <p:nvPr>
            <p:custDataLst>
              <p:tags r:id="rId63"/>
            </p:custDataLst>
          </p:nvPr>
        </p:nvCxnSpPr>
        <p:spPr bwMode="auto">
          <a:xfrm>
            <a:off x="8882063" y="1417713"/>
            <a:ext cx="0" cy="49687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F1AA5452-FF48-4880-80A4-015828B0DA2A}"/>
              </a:ext>
            </a:extLst>
          </p:cNvPr>
          <p:cNvCxnSpPr>
            <a:cxnSpLocks/>
          </p:cNvCxnSpPr>
          <p:nvPr>
            <p:custDataLst>
              <p:tags r:id="rId64"/>
            </p:custDataLst>
          </p:nvPr>
        </p:nvCxnSpPr>
        <p:spPr bwMode="auto">
          <a:xfrm>
            <a:off x="7802563" y="1417713"/>
            <a:ext cx="0" cy="49687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38BD67E0-5D91-425F-AB44-C6A63B479748}"/>
              </a:ext>
            </a:extLst>
          </p:cNvPr>
          <p:cNvCxnSpPr>
            <a:cxnSpLocks/>
          </p:cNvCxnSpPr>
          <p:nvPr>
            <p:custDataLst>
              <p:tags r:id="rId65"/>
            </p:custDataLst>
          </p:nvPr>
        </p:nvCxnSpPr>
        <p:spPr bwMode="auto">
          <a:xfrm>
            <a:off x="2370138" y="1417713"/>
            <a:ext cx="0" cy="49687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B298691F-671B-4E4E-BFEA-87730F148AB4}"/>
              </a:ext>
            </a:extLst>
          </p:cNvPr>
          <p:cNvCxnSpPr>
            <a:cxnSpLocks/>
          </p:cNvCxnSpPr>
          <p:nvPr>
            <p:custDataLst>
              <p:tags r:id="rId66"/>
            </p:custDataLst>
          </p:nvPr>
        </p:nvCxnSpPr>
        <p:spPr bwMode="auto">
          <a:xfrm>
            <a:off x="9996488" y="1417713"/>
            <a:ext cx="0" cy="49687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E50545E3-5BDF-42F5-B129-80C465DD23AA}"/>
              </a:ext>
            </a:extLst>
          </p:cNvPr>
          <p:cNvCxnSpPr>
            <a:cxnSpLocks/>
          </p:cNvCxnSpPr>
          <p:nvPr>
            <p:custDataLst>
              <p:tags r:id="rId67"/>
            </p:custDataLst>
          </p:nvPr>
        </p:nvCxnSpPr>
        <p:spPr bwMode="auto">
          <a:xfrm>
            <a:off x="5680075" y="1398463"/>
            <a:ext cx="12806" cy="5006006"/>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56B538BD-C28C-4F44-B983-5C3A190C7FC7}"/>
              </a:ext>
            </a:extLst>
          </p:cNvPr>
          <p:cNvCxnSpPr>
            <a:cxnSpLocks/>
          </p:cNvCxnSpPr>
          <p:nvPr>
            <p:custDataLst>
              <p:tags r:id="rId68"/>
            </p:custDataLst>
          </p:nvPr>
        </p:nvCxnSpPr>
        <p:spPr bwMode="auto">
          <a:xfrm>
            <a:off x="6686550" y="1398463"/>
            <a:ext cx="1" cy="5006006"/>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539EE8A3-5F03-4682-A1C1-64A28BBE11E7}"/>
              </a:ext>
            </a:extLst>
          </p:cNvPr>
          <p:cNvCxnSpPr/>
          <p:nvPr>
            <p:custDataLst>
              <p:tags r:id="rId69"/>
            </p:custDataLst>
          </p:nvPr>
        </p:nvCxnSpPr>
        <p:spPr bwMode="auto">
          <a:xfrm>
            <a:off x="4564063" y="1417713"/>
            <a:ext cx="0" cy="467995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1C428105-6B5E-4852-A326-1737722A2EE8}"/>
              </a:ext>
            </a:extLst>
          </p:cNvPr>
          <p:cNvCxnSpPr>
            <a:cxnSpLocks/>
          </p:cNvCxnSpPr>
          <p:nvPr>
            <p:custDataLst>
              <p:tags r:id="rId70"/>
            </p:custDataLst>
          </p:nvPr>
        </p:nvCxnSpPr>
        <p:spPr bwMode="auto">
          <a:xfrm>
            <a:off x="12192000" y="1417713"/>
            <a:ext cx="0" cy="4938537"/>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C4F5FE6D-F980-4228-9CA4-78F62EEE00CC}"/>
              </a:ext>
            </a:extLst>
          </p:cNvPr>
          <p:cNvCxnSpPr>
            <a:cxnSpLocks/>
          </p:cNvCxnSpPr>
          <p:nvPr>
            <p:custDataLst>
              <p:tags r:id="rId71"/>
            </p:custDataLst>
          </p:nvPr>
        </p:nvCxnSpPr>
        <p:spPr bwMode="auto">
          <a:xfrm flipH="1">
            <a:off x="-27904" y="1417713"/>
            <a:ext cx="27904" cy="49687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BAC9F655-2FB7-45FE-97D2-46F80CC5ABAC}"/>
              </a:ext>
            </a:extLst>
          </p:cNvPr>
          <p:cNvCxnSpPr/>
          <p:nvPr>
            <p:custDataLst>
              <p:tags r:id="rId72"/>
            </p:custDataLst>
          </p:nvPr>
        </p:nvCxnSpPr>
        <p:spPr bwMode="auto">
          <a:xfrm>
            <a:off x="0" y="3427873"/>
            <a:ext cx="12192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34891647-0CE7-45C8-8CD2-B2F5E44341C5}"/>
              </a:ext>
            </a:extLst>
          </p:cNvPr>
          <p:cNvCxnSpPr/>
          <p:nvPr>
            <p:custDataLst>
              <p:tags r:id="rId73"/>
            </p:custDataLst>
          </p:nvPr>
        </p:nvCxnSpPr>
        <p:spPr bwMode="auto">
          <a:xfrm>
            <a:off x="0" y="6386413"/>
            <a:ext cx="121920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0C547BBA-9F35-4A72-A8D7-AAF3A852A1A3}"/>
              </a:ext>
            </a:extLst>
          </p:cNvPr>
          <p:cNvCxnSpPr>
            <a:cxnSpLocks/>
            <a:endCxn id="40" idx="0"/>
          </p:cNvCxnSpPr>
          <p:nvPr>
            <p:custDataLst>
              <p:tags r:id="rId74"/>
            </p:custDataLst>
          </p:nvPr>
        </p:nvCxnSpPr>
        <p:spPr bwMode="auto">
          <a:xfrm flipH="1">
            <a:off x="3567113" y="1379613"/>
            <a:ext cx="2382" cy="5113162"/>
          </a:xfrm>
          <a:prstGeom prst="line">
            <a:avLst/>
          </a:prstGeom>
          <a:ln w="190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7B537FD5-B252-4A07-9536-8FB5607B3C4B}"/>
              </a:ext>
            </a:extLst>
          </p:cNvPr>
          <p:cNvCxnSpPr>
            <a:cxnSpLocks/>
          </p:cNvCxnSpPr>
          <p:nvPr>
            <p:custDataLst>
              <p:tags r:id="rId75"/>
            </p:custDataLst>
          </p:nvPr>
        </p:nvCxnSpPr>
        <p:spPr bwMode="auto">
          <a:xfrm>
            <a:off x="0" y="1417713"/>
            <a:ext cx="121920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5" name="Text Placeholder 2">
            <a:extLst>
              <a:ext uri="{FF2B5EF4-FFF2-40B4-BE49-F238E27FC236}">
                <a16:creationId xmlns:a16="http://schemas.microsoft.com/office/drawing/2014/main" id="{8EB7EA58-4217-4D44-9CBA-5E43DD5C88B8}"/>
              </a:ext>
            </a:extLst>
          </p:cNvPr>
          <p:cNvSpPr>
            <a:spLocks noGrp="1"/>
          </p:cNvSpPr>
          <p:nvPr>
            <p:custDataLst>
              <p:tags r:id="rId76"/>
            </p:custDataLst>
          </p:nvPr>
        </p:nvSpPr>
        <p:spPr bwMode="auto">
          <a:xfrm>
            <a:off x="8666163" y="4358382"/>
            <a:ext cx="935038" cy="221456"/>
          </a:xfrm>
          <a:prstGeom prst="homePlate">
            <a:avLst>
              <a:gd name="adj" fmla="val 18077"/>
            </a:avLst>
          </a:prstGeom>
          <a:solidFill>
            <a:schemeClr val="accent2">
              <a:lumMod val="20000"/>
              <a:lumOff val="80000"/>
            </a:schemeClr>
          </a:solidFill>
          <a:ln w="9525" algn="ctr">
            <a:solidFill>
              <a:schemeClr val="tx1"/>
            </a:solidFill>
          </a:ln>
          <a:effectLst/>
        </p:spPr>
        <p:txBody>
          <a:bodyPr vert="horz" wrap="square" lIns="90488" tIns="45720" rIns="60325"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App Sprint 4</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Text Placeholder 2">
            <a:extLst>
              <a:ext uri="{FF2B5EF4-FFF2-40B4-BE49-F238E27FC236}">
                <a16:creationId xmlns:a16="http://schemas.microsoft.com/office/drawing/2014/main" id="{8E4DD8F9-7505-4C41-8DB2-FBDEC3D76BB8}"/>
              </a:ext>
            </a:extLst>
          </p:cNvPr>
          <p:cNvSpPr>
            <a:spLocks noGrp="1"/>
          </p:cNvSpPr>
          <p:nvPr>
            <p:custDataLst>
              <p:tags r:id="rId77"/>
            </p:custDataLst>
          </p:nvPr>
        </p:nvSpPr>
        <p:spPr bwMode="auto">
          <a:xfrm>
            <a:off x="7658101" y="4358381"/>
            <a:ext cx="989370" cy="216490"/>
          </a:xfrm>
          <a:prstGeom prst="homePlate">
            <a:avLst>
              <a:gd name="adj" fmla="val 18077"/>
            </a:avLst>
          </a:prstGeom>
          <a:solidFill>
            <a:schemeClr val="accent2">
              <a:lumMod val="20000"/>
              <a:lumOff val="80000"/>
            </a:schemeClr>
          </a:solidFill>
          <a:ln w="9525" algn="ctr">
            <a:solidFill>
              <a:schemeClr val="tx1"/>
            </a:solidFill>
          </a:ln>
          <a:effectLst/>
        </p:spPr>
        <p:txBody>
          <a:bodyPr vert="horz" wrap="square" lIns="90488" tIns="45720" rIns="61913"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App Sprint 3</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Text Placeholder 2">
            <a:extLst>
              <a:ext uri="{FF2B5EF4-FFF2-40B4-BE49-F238E27FC236}">
                <a16:creationId xmlns:a16="http://schemas.microsoft.com/office/drawing/2014/main" id="{1FAC272E-6D28-4EDF-B345-73562E60891B}"/>
              </a:ext>
            </a:extLst>
          </p:cNvPr>
          <p:cNvSpPr>
            <a:spLocks noGrp="1"/>
          </p:cNvSpPr>
          <p:nvPr>
            <p:custDataLst>
              <p:tags r:id="rId78"/>
            </p:custDataLst>
          </p:nvPr>
        </p:nvSpPr>
        <p:spPr bwMode="auto">
          <a:xfrm>
            <a:off x="8666163" y="4626669"/>
            <a:ext cx="935038" cy="221456"/>
          </a:xfrm>
          <a:prstGeom prst="homePlate">
            <a:avLst>
              <a:gd name="adj" fmla="val 18077"/>
            </a:avLst>
          </a:prstGeom>
          <a:solidFill>
            <a:schemeClr val="accent1">
              <a:lumMod val="40000"/>
              <a:lumOff val="60000"/>
            </a:schemeClr>
          </a:solidFill>
          <a:ln w="9525" algn="ctr">
            <a:solidFill>
              <a:schemeClr val="tx1"/>
            </a:solidFill>
          </a:ln>
          <a:effectLst/>
        </p:spPr>
        <p:txBody>
          <a:bodyPr vert="horz" wrap="square" lIns="90488" tIns="45720" rIns="141288"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Int Sprint 3</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Text Placeholder 2">
            <a:extLst>
              <a:ext uri="{FF2B5EF4-FFF2-40B4-BE49-F238E27FC236}">
                <a16:creationId xmlns:a16="http://schemas.microsoft.com/office/drawing/2014/main" id="{B2A448F2-F0E8-442F-9D83-69F86FF6E91A}"/>
              </a:ext>
            </a:extLst>
          </p:cNvPr>
          <p:cNvSpPr>
            <a:spLocks noGrp="1"/>
          </p:cNvSpPr>
          <p:nvPr>
            <p:custDataLst>
              <p:tags r:id="rId79"/>
            </p:custDataLst>
          </p:nvPr>
        </p:nvSpPr>
        <p:spPr bwMode="auto">
          <a:xfrm>
            <a:off x="6651625" y="4358379"/>
            <a:ext cx="989370" cy="227033"/>
          </a:xfrm>
          <a:prstGeom prst="homePlate">
            <a:avLst>
              <a:gd name="adj" fmla="val 18077"/>
            </a:avLst>
          </a:prstGeom>
          <a:solidFill>
            <a:schemeClr val="accent2">
              <a:lumMod val="20000"/>
              <a:lumOff val="80000"/>
            </a:schemeClr>
          </a:solidFill>
          <a:ln w="9525" algn="ctr">
            <a:solidFill>
              <a:schemeClr val="tx1"/>
            </a:solidFill>
          </a:ln>
          <a:effectLst/>
        </p:spPr>
        <p:txBody>
          <a:bodyPr vert="horz" wrap="square" lIns="90488" tIns="45720" rIns="60325"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App Sprint 2</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Text Placeholder 2">
            <a:extLst>
              <a:ext uri="{FF2B5EF4-FFF2-40B4-BE49-F238E27FC236}">
                <a16:creationId xmlns:a16="http://schemas.microsoft.com/office/drawing/2014/main" id="{D65BAE0D-3998-498D-889C-4924E89A5134}"/>
              </a:ext>
            </a:extLst>
          </p:cNvPr>
          <p:cNvSpPr>
            <a:spLocks noGrp="1"/>
          </p:cNvSpPr>
          <p:nvPr>
            <p:custDataLst>
              <p:tags r:id="rId80"/>
            </p:custDataLst>
          </p:nvPr>
        </p:nvSpPr>
        <p:spPr bwMode="auto">
          <a:xfrm>
            <a:off x="7658101" y="4626669"/>
            <a:ext cx="989370" cy="226214"/>
          </a:xfrm>
          <a:prstGeom prst="homePlate">
            <a:avLst>
              <a:gd name="adj" fmla="val 18077"/>
            </a:avLst>
          </a:prstGeom>
          <a:solidFill>
            <a:schemeClr val="accent1">
              <a:lumMod val="40000"/>
              <a:lumOff val="60000"/>
            </a:schemeClr>
          </a:solidFill>
          <a:ln w="9525" algn="ctr">
            <a:solidFill>
              <a:schemeClr val="tx1"/>
            </a:solidFill>
          </a:ln>
          <a:effectLst/>
        </p:spPr>
        <p:txBody>
          <a:bodyPr vert="horz" wrap="square" lIns="90488" tIns="45720" rIns="142875"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Int Sprint 2</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Text Placeholder 2">
            <a:extLst>
              <a:ext uri="{FF2B5EF4-FFF2-40B4-BE49-F238E27FC236}">
                <a16:creationId xmlns:a16="http://schemas.microsoft.com/office/drawing/2014/main" id="{9A7595B9-9E0C-470F-8F61-AE941CB6A09B}"/>
              </a:ext>
            </a:extLst>
          </p:cNvPr>
          <p:cNvSpPr>
            <a:spLocks noGrp="1"/>
          </p:cNvSpPr>
          <p:nvPr>
            <p:custDataLst>
              <p:tags r:id="rId81"/>
            </p:custDataLst>
          </p:nvPr>
        </p:nvSpPr>
        <p:spPr bwMode="auto">
          <a:xfrm>
            <a:off x="5643562" y="4358378"/>
            <a:ext cx="990955" cy="229341"/>
          </a:xfrm>
          <a:prstGeom prst="homePlate">
            <a:avLst>
              <a:gd name="adj" fmla="val 18077"/>
            </a:avLst>
          </a:prstGeom>
          <a:solidFill>
            <a:schemeClr val="accent2">
              <a:lumMod val="20000"/>
              <a:lumOff val="80000"/>
            </a:schemeClr>
          </a:solidFill>
          <a:ln w="9525" algn="ctr">
            <a:solidFill>
              <a:schemeClr val="tx1"/>
            </a:solidFill>
          </a:ln>
          <a:effectLst/>
        </p:spPr>
        <p:txBody>
          <a:bodyPr vert="horz" wrap="square" lIns="90488" tIns="45720" rIns="60325"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App Sprint 1</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Text Placeholder 2">
            <a:extLst>
              <a:ext uri="{FF2B5EF4-FFF2-40B4-BE49-F238E27FC236}">
                <a16:creationId xmlns:a16="http://schemas.microsoft.com/office/drawing/2014/main" id="{BC077C2B-8824-440C-AE5E-18AF6F942026}"/>
              </a:ext>
            </a:extLst>
          </p:cNvPr>
          <p:cNvSpPr>
            <a:spLocks noGrp="1"/>
          </p:cNvSpPr>
          <p:nvPr>
            <p:custDataLst>
              <p:tags r:id="rId82"/>
            </p:custDataLst>
          </p:nvPr>
        </p:nvSpPr>
        <p:spPr bwMode="auto">
          <a:xfrm>
            <a:off x="9624218" y="5509714"/>
            <a:ext cx="1012825" cy="198837"/>
          </a:xfrm>
          <a:prstGeom prst="chevron">
            <a:avLst>
              <a:gd name="adj" fmla="val 18077"/>
            </a:avLst>
          </a:prstGeom>
          <a:solidFill>
            <a:schemeClr val="accent2">
              <a:lumMod val="20000"/>
              <a:lumOff val="80000"/>
            </a:schemeClr>
          </a:solidFill>
          <a:ln w="9525" algn="ctr">
            <a:solidFill>
              <a:schemeClr val="tx1"/>
            </a:solidFill>
          </a:ln>
          <a:effectLst/>
        </p:spPr>
        <p:txBody>
          <a:bodyPr vert="horz" wrap="square" lIns="90488" tIns="45720" rIns="0"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UAT Execution</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Text Placeholder 2">
            <a:extLst>
              <a:ext uri="{FF2B5EF4-FFF2-40B4-BE49-F238E27FC236}">
                <a16:creationId xmlns:a16="http://schemas.microsoft.com/office/drawing/2014/main" id="{BBE960C4-B4F4-44A7-AC0A-C5F911422929}"/>
              </a:ext>
            </a:extLst>
          </p:cNvPr>
          <p:cNvSpPr>
            <a:spLocks noGrp="1"/>
          </p:cNvSpPr>
          <p:nvPr>
            <p:custDataLst>
              <p:tags r:id="rId83"/>
            </p:custDataLst>
          </p:nvPr>
        </p:nvSpPr>
        <p:spPr bwMode="auto">
          <a:xfrm>
            <a:off x="6651625" y="4626669"/>
            <a:ext cx="989370" cy="220811"/>
          </a:xfrm>
          <a:prstGeom prst="homePlate">
            <a:avLst>
              <a:gd name="adj" fmla="val 18077"/>
            </a:avLst>
          </a:prstGeom>
          <a:solidFill>
            <a:schemeClr val="accent1">
              <a:lumMod val="40000"/>
              <a:lumOff val="60000"/>
            </a:schemeClr>
          </a:solidFill>
          <a:ln w="9525" algn="ctr">
            <a:solidFill>
              <a:schemeClr val="tx1"/>
            </a:solidFill>
          </a:ln>
          <a:effectLst/>
        </p:spPr>
        <p:txBody>
          <a:bodyPr vert="horz" wrap="square" lIns="90488" tIns="45720" rIns="141288"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Int Sprint 1 </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Text Placeholder 2">
            <a:extLst>
              <a:ext uri="{FF2B5EF4-FFF2-40B4-BE49-F238E27FC236}">
                <a16:creationId xmlns:a16="http://schemas.microsoft.com/office/drawing/2014/main" id="{9B8A120B-DE43-4102-A6F8-09A89A1B64FD}"/>
              </a:ext>
            </a:extLst>
          </p:cNvPr>
          <p:cNvSpPr>
            <a:spLocks noGrp="1"/>
          </p:cNvSpPr>
          <p:nvPr>
            <p:custDataLst>
              <p:tags r:id="rId84"/>
            </p:custDataLst>
          </p:nvPr>
        </p:nvSpPr>
        <p:spPr bwMode="auto">
          <a:xfrm>
            <a:off x="1865313" y="4109142"/>
            <a:ext cx="2446338" cy="221457"/>
          </a:xfrm>
          <a:prstGeom prst="homePlate">
            <a:avLst>
              <a:gd name="adj" fmla="val 18077"/>
            </a:avLst>
          </a:prstGeom>
          <a:solidFill>
            <a:schemeClr val="accent6">
              <a:lumMod val="20000"/>
              <a:lumOff val="80000"/>
            </a:schemeClr>
          </a:solidFill>
          <a:ln w="9525" algn="ctr">
            <a:solidFill>
              <a:schemeClr val="tx1"/>
            </a:solidFill>
          </a:ln>
          <a:effectLst/>
        </p:spPr>
        <p:txBody>
          <a:bodyPr vert="horz" wrap="none" lIns="90488" tIns="45720" rIns="0"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UKI &amp; ANZ I&amp;C</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Text Placeholder 2">
            <a:extLst>
              <a:ext uri="{FF2B5EF4-FFF2-40B4-BE49-F238E27FC236}">
                <a16:creationId xmlns:a16="http://schemas.microsoft.com/office/drawing/2014/main" id="{2B67A263-152C-4BEC-8412-0955DC34089A}"/>
              </a:ext>
            </a:extLst>
          </p:cNvPr>
          <p:cNvSpPr>
            <a:spLocks noGrp="1"/>
          </p:cNvSpPr>
          <p:nvPr>
            <p:custDataLst>
              <p:tags r:id="rId85"/>
            </p:custDataLst>
          </p:nvPr>
        </p:nvSpPr>
        <p:spPr bwMode="auto">
          <a:xfrm>
            <a:off x="11004550" y="6164163"/>
            <a:ext cx="935038" cy="192087"/>
          </a:xfrm>
          <a:prstGeom prst="homePlate">
            <a:avLst>
              <a:gd name="adj" fmla="val 18077"/>
            </a:avLst>
          </a:prstGeom>
          <a:solidFill>
            <a:schemeClr val="accent2">
              <a:lumMod val="20000"/>
              <a:lumOff val="80000"/>
            </a:schemeClr>
          </a:solidFill>
          <a:ln w="9525" algn="ctr">
            <a:solidFill>
              <a:schemeClr val="tx1"/>
            </a:solidFill>
          </a:ln>
          <a:effectLst/>
        </p:spPr>
        <p:txBody>
          <a:bodyPr vert="horz" wrap="none" lIns="90488" tIns="45720" rIns="0"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Hypercare</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Text Placeholder 2">
            <a:extLst>
              <a:ext uri="{FF2B5EF4-FFF2-40B4-BE49-F238E27FC236}">
                <a16:creationId xmlns:a16="http://schemas.microsoft.com/office/drawing/2014/main" id="{981BC689-D24C-4740-AF6E-122473ABF6D5}"/>
              </a:ext>
            </a:extLst>
          </p:cNvPr>
          <p:cNvSpPr>
            <a:spLocks noGrp="1"/>
          </p:cNvSpPr>
          <p:nvPr>
            <p:custDataLst>
              <p:tags r:id="rId86"/>
            </p:custDataLst>
          </p:nvPr>
        </p:nvSpPr>
        <p:spPr bwMode="auto">
          <a:xfrm>
            <a:off x="10680700" y="6002236"/>
            <a:ext cx="252413" cy="176213"/>
          </a:xfrm>
          <a:prstGeom prst="homePlate">
            <a:avLst>
              <a:gd name="adj" fmla="val 29560"/>
            </a:avLst>
          </a:prstGeom>
          <a:solidFill>
            <a:schemeClr val="accent2">
              <a:lumMod val="20000"/>
              <a:lumOff val="80000"/>
            </a:schemeClr>
          </a:solidFill>
          <a:ln w="9525" algn="ctr">
            <a:solidFill>
              <a:schemeClr val="tx1"/>
            </a:solidFill>
          </a:ln>
          <a:effectLst/>
        </p:spPr>
        <p:txBody>
          <a:bodyPr vert="horz" wrap="none" lIns="88900" tIns="45720" rIns="0"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 name="Text Placeholder 2">
            <a:extLst>
              <a:ext uri="{FF2B5EF4-FFF2-40B4-BE49-F238E27FC236}">
                <a16:creationId xmlns:a16="http://schemas.microsoft.com/office/drawing/2014/main" id="{58C69168-EB12-4469-A151-3DB2212ABD32}"/>
              </a:ext>
            </a:extLst>
          </p:cNvPr>
          <p:cNvSpPr>
            <a:spLocks noGrp="1"/>
          </p:cNvSpPr>
          <p:nvPr>
            <p:custDataLst>
              <p:tags r:id="rId87"/>
            </p:custDataLst>
          </p:nvPr>
        </p:nvSpPr>
        <p:spPr bwMode="auto">
          <a:xfrm>
            <a:off x="7649369" y="5262065"/>
            <a:ext cx="2951163" cy="205186"/>
          </a:xfrm>
          <a:prstGeom prst="homePlate">
            <a:avLst>
              <a:gd name="adj" fmla="val 18077"/>
            </a:avLst>
          </a:prstGeom>
          <a:solidFill>
            <a:schemeClr val="accent2">
              <a:lumMod val="20000"/>
              <a:lumOff val="80000"/>
            </a:schemeClr>
          </a:solidFill>
          <a:ln w="9525" algn="ctr">
            <a:solidFill>
              <a:schemeClr val="tx1"/>
            </a:solidFill>
          </a:ln>
          <a:effectLst/>
        </p:spPr>
        <p:txBody>
          <a:bodyPr vert="horz" wrap="none" lIns="90488" tIns="45720" rIns="0"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SIT (Cycles to be defined)</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 name="Text Placeholder 2">
            <a:extLst>
              <a:ext uri="{FF2B5EF4-FFF2-40B4-BE49-F238E27FC236}">
                <a16:creationId xmlns:a16="http://schemas.microsoft.com/office/drawing/2014/main" id="{163B9C09-FAD1-4066-BF09-4F1B82849B45}"/>
              </a:ext>
            </a:extLst>
          </p:cNvPr>
          <p:cNvSpPr>
            <a:spLocks noGrp="1"/>
          </p:cNvSpPr>
          <p:nvPr>
            <p:custDataLst>
              <p:tags r:id="rId88"/>
            </p:custDataLst>
          </p:nvPr>
        </p:nvSpPr>
        <p:spPr bwMode="auto">
          <a:xfrm>
            <a:off x="7649369" y="5506145"/>
            <a:ext cx="2014538" cy="202406"/>
          </a:xfrm>
          <a:prstGeom prst="homePlate">
            <a:avLst>
              <a:gd name="adj" fmla="val 18077"/>
            </a:avLst>
          </a:prstGeom>
          <a:solidFill>
            <a:schemeClr val="accent2">
              <a:lumMod val="20000"/>
              <a:lumOff val="80000"/>
            </a:schemeClr>
          </a:solidFill>
          <a:ln w="9525" algn="ctr">
            <a:solidFill>
              <a:schemeClr val="tx1"/>
            </a:solidFill>
          </a:ln>
          <a:effectLst/>
        </p:spPr>
        <p:txBody>
          <a:bodyPr vert="horz" wrap="none" lIns="90488" tIns="45720" rIns="0"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UAT Prep</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Text Placeholder 2">
            <a:extLst>
              <a:ext uri="{FF2B5EF4-FFF2-40B4-BE49-F238E27FC236}">
                <a16:creationId xmlns:a16="http://schemas.microsoft.com/office/drawing/2014/main" id="{E78D3D77-5C3B-4D06-A45C-D53B7A6EEF27}"/>
              </a:ext>
            </a:extLst>
          </p:cNvPr>
          <p:cNvSpPr>
            <a:spLocks noGrp="1"/>
          </p:cNvSpPr>
          <p:nvPr>
            <p:custDataLst>
              <p:tags r:id="rId89"/>
            </p:custDataLst>
          </p:nvPr>
        </p:nvSpPr>
        <p:spPr bwMode="auto">
          <a:xfrm>
            <a:off x="4952205" y="5745263"/>
            <a:ext cx="5684838" cy="205186"/>
          </a:xfrm>
          <a:prstGeom prst="homePlate">
            <a:avLst>
              <a:gd name="adj" fmla="val 18077"/>
            </a:avLst>
          </a:prstGeom>
          <a:solidFill>
            <a:schemeClr val="accent2">
              <a:lumMod val="20000"/>
              <a:lumOff val="80000"/>
            </a:schemeClr>
          </a:solidFill>
          <a:ln w="9525" algn="ctr">
            <a:solidFill>
              <a:schemeClr val="tx1"/>
            </a:solidFill>
          </a:ln>
          <a:effectLst/>
        </p:spPr>
        <p:txBody>
          <a:bodyPr vert="horz" wrap="none" lIns="90488" tIns="45720" rIns="0"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Change Management</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 name="Text Placeholder 2">
            <a:extLst>
              <a:ext uri="{FF2B5EF4-FFF2-40B4-BE49-F238E27FC236}">
                <a16:creationId xmlns:a16="http://schemas.microsoft.com/office/drawing/2014/main" id="{F1411EBE-98A9-4F33-999B-CAC9B1A81DE2}"/>
              </a:ext>
            </a:extLst>
          </p:cNvPr>
          <p:cNvSpPr>
            <a:spLocks noGrp="1"/>
          </p:cNvSpPr>
          <p:nvPr>
            <p:custDataLst>
              <p:tags r:id="rId90"/>
            </p:custDataLst>
          </p:nvPr>
        </p:nvSpPr>
        <p:spPr bwMode="auto">
          <a:xfrm>
            <a:off x="3449637" y="4367907"/>
            <a:ext cx="2176819" cy="206964"/>
          </a:xfrm>
          <a:prstGeom prst="homePlate">
            <a:avLst>
              <a:gd name="adj" fmla="val 18077"/>
            </a:avLst>
          </a:prstGeom>
          <a:solidFill>
            <a:schemeClr val="accent2">
              <a:lumMod val="20000"/>
              <a:lumOff val="80000"/>
            </a:schemeClr>
          </a:solidFill>
          <a:ln w="9525" algn="ctr">
            <a:solidFill>
              <a:schemeClr val="tx1"/>
            </a:solidFill>
          </a:ln>
          <a:effectLst/>
        </p:spPr>
        <p:txBody>
          <a:bodyPr vert="horz" wrap="none" lIns="90488" tIns="45720" rIns="0"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Environment Readiness</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Text Placeholder 2">
            <a:extLst>
              <a:ext uri="{FF2B5EF4-FFF2-40B4-BE49-F238E27FC236}">
                <a16:creationId xmlns:a16="http://schemas.microsoft.com/office/drawing/2014/main" id="{3B5181E7-9F1F-4937-B80A-DD0F5ED1FF6A}"/>
              </a:ext>
            </a:extLst>
          </p:cNvPr>
          <p:cNvSpPr>
            <a:spLocks noGrp="1"/>
          </p:cNvSpPr>
          <p:nvPr>
            <p:custDataLst>
              <p:tags r:id="rId91"/>
            </p:custDataLst>
          </p:nvPr>
        </p:nvSpPr>
        <p:spPr bwMode="auto">
          <a:xfrm>
            <a:off x="4887913" y="4626669"/>
            <a:ext cx="1746604" cy="220812"/>
          </a:xfrm>
          <a:prstGeom prst="homePlate">
            <a:avLst>
              <a:gd name="adj" fmla="val 18077"/>
            </a:avLst>
          </a:prstGeom>
          <a:solidFill>
            <a:schemeClr val="accent1">
              <a:lumMod val="40000"/>
              <a:lumOff val="60000"/>
            </a:schemeClr>
          </a:solidFill>
          <a:ln w="9525" algn="ctr">
            <a:solidFill>
              <a:schemeClr val="tx1"/>
            </a:solidFill>
          </a:ln>
          <a:effectLst/>
        </p:spPr>
        <p:txBody>
          <a:bodyPr vert="horz" wrap="square" lIns="90488" tIns="45720" rIns="130175"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Environment Readiness</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 name="Right Bracket 214">
            <a:extLst>
              <a:ext uri="{FF2B5EF4-FFF2-40B4-BE49-F238E27FC236}">
                <a16:creationId xmlns:a16="http://schemas.microsoft.com/office/drawing/2014/main" id="{D472067D-2DAF-40B7-90E8-ED7B5C9B4447}"/>
              </a:ext>
            </a:extLst>
          </p:cNvPr>
          <p:cNvSpPr/>
          <p:nvPr>
            <p:custDataLst>
              <p:tags r:id="rId92"/>
            </p:custDataLst>
          </p:nvPr>
        </p:nvSpPr>
        <p:spPr bwMode="auto">
          <a:xfrm rot="5400000">
            <a:off x="4545013" y="6189563"/>
            <a:ext cx="107950" cy="576263"/>
          </a:xfrm>
          <a:prstGeom prst="rightBracket">
            <a:avLst>
              <a:gd name="adj" fmla="val 0"/>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 name="Isosceles Triangle 215">
            <a:extLst>
              <a:ext uri="{FF2B5EF4-FFF2-40B4-BE49-F238E27FC236}">
                <a16:creationId xmlns:a16="http://schemas.microsoft.com/office/drawing/2014/main" id="{112CAF09-BD44-4440-A05E-CFE697ACDE21}"/>
              </a:ext>
            </a:extLst>
          </p:cNvPr>
          <p:cNvSpPr/>
          <p:nvPr>
            <p:custDataLst>
              <p:tags r:id="rId93"/>
            </p:custDataLst>
          </p:nvPr>
        </p:nvSpPr>
        <p:spPr bwMode="auto">
          <a:xfrm rot="10800000">
            <a:off x="4492625" y="6530875"/>
            <a:ext cx="212725" cy="107950"/>
          </a:xfrm>
          <a:prstGeom prst="triangle">
            <a:avLst>
              <a:gd name="adj" fmla="val 50000"/>
            </a:avLst>
          </a:prstGeom>
          <a:solidFill>
            <a:schemeClr val="tx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9" name="Isosceles Triangle 208">
            <a:extLst>
              <a:ext uri="{FF2B5EF4-FFF2-40B4-BE49-F238E27FC236}">
                <a16:creationId xmlns:a16="http://schemas.microsoft.com/office/drawing/2014/main" id="{45A299DC-F66D-40B0-9776-B4AFBBEDE703}"/>
              </a:ext>
            </a:extLst>
          </p:cNvPr>
          <p:cNvSpPr/>
          <p:nvPr>
            <p:custDataLst>
              <p:tags r:id="rId94"/>
            </p:custDataLst>
          </p:nvPr>
        </p:nvSpPr>
        <p:spPr bwMode="gray">
          <a:xfrm>
            <a:off x="10904538" y="6019700"/>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3" name="Isosceles Triangle 242">
            <a:extLst>
              <a:ext uri="{FF2B5EF4-FFF2-40B4-BE49-F238E27FC236}">
                <a16:creationId xmlns:a16="http://schemas.microsoft.com/office/drawing/2014/main" id="{7D1A956E-0614-4E22-9659-FEEBD3EE947B}"/>
              </a:ext>
            </a:extLst>
          </p:cNvPr>
          <p:cNvSpPr/>
          <p:nvPr>
            <p:custDataLst>
              <p:tags r:id="rId95"/>
            </p:custDataLst>
          </p:nvPr>
        </p:nvSpPr>
        <p:spPr bwMode="gray">
          <a:xfrm>
            <a:off x="10620377" y="5531544"/>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0" name="Isosceles Triangle 239">
            <a:extLst>
              <a:ext uri="{FF2B5EF4-FFF2-40B4-BE49-F238E27FC236}">
                <a16:creationId xmlns:a16="http://schemas.microsoft.com/office/drawing/2014/main" id="{B4E48343-99CC-4269-999D-2E531280EF91}"/>
              </a:ext>
            </a:extLst>
          </p:cNvPr>
          <p:cNvSpPr/>
          <p:nvPr>
            <p:custDataLst>
              <p:tags r:id="rId96"/>
            </p:custDataLst>
          </p:nvPr>
        </p:nvSpPr>
        <p:spPr bwMode="gray">
          <a:xfrm>
            <a:off x="9569809" y="4419858"/>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Isosceles Triangle 39">
            <a:extLst>
              <a:ext uri="{FF2B5EF4-FFF2-40B4-BE49-F238E27FC236}">
                <a16:creationId xmlns:a16="http://schemas.microsoft.com/office/drawing/2014/main" id="{AE95E9D8-74D1-4D59-BC3D-88816245AA5A}"/>
              </a:ext>
            </a:extLst>
          </p:cNvPr>
          <p:cNvSpPr/>
          <p:nvPr>
            <p:custDataLst>
              <p:tags r:id="rId97"/>
            </p:custDataLst>
          </p:nvPr>
        </p:nvSpPr>
        <p:spPr bwMode="gray">
          <a:xfrm>
            <a:off x="3509963" y="6492775"/>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5" name="Isosceles Triangle 234">
            <a:extLst>
              <a:ext uri="{FF2B5EF4-FFF2-40B4-BE49-F238E27FC236}">
                <a16:creationId xmlns:a16="http://schemas.microsoft.com/office/drawing/2014/main" id="{C928E1E1-43EE-4B28-B7DA-7AAC759E6EC0}"/>
              </a:ext>
            </a:extLst>
          </p:cNvPr>
          <p:cNvSpPr/>
          <p:nvPr>
            <p:custDataLst>
              <p:tags r:id="rId98"/>
            </p:custDataLst>
          </p:nvPr>
        </p:nvSpPr>
        <p:spPr bwMode="gray">
          <a:xfrm>
            <a:off x="4238625" y="4162325"/>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39" name="Text Placeholder 2">
            <a:extLst>
              <a:ext uri="{FF2B5EF4-FFF2-40B4-BE49-F238E27FC236}">
                <a16:creationId xmlns:a16="http://schemas.microsoft.com/office/drawing/2014/main" id="{9B8A120B-DE43-4102-A6F8-09A89A1B64FD}"/>
              </a:ext>
            </a:extLst>
          </p:cNvPr>
          <p:cNvSpPr>
            <a:spLocks noGrp="1"/>
          </p:cNvSpPr>
          <p:nvPr>
            <p:custDataLst>
              <p:tags r:id="rId99"/>
            </p:custDataLst>
          </p:nvPr>
        </p:nvSpPr>
        <p:spPr bwMode="auto">
          <a:xfrm>
            <a:off x="3070225" y="6657875"/>
            <a:ext cx="860425" cy="192088"/>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2021-12-03</a:t>
            </a:r>
          </a:p>
        </p:txBody>
      </p:sp>
      <p:sp>
        <p:nvSpPr>
          <p:cNvPr id="10" name="Text Placeholder 2">
            <a:extLst>
              <a:ext uri="{FF2B5EF4-FFF2-40B4-BE49-F238E27FC236}">
                <a16:creationId xmlns:a16="http://schemas.microsoft.com/office/drawing/2014/main" id="{9B8A120B-DE43-4102-A6F8-09A89A1B64FD}"/>
              </a:ext>
            </a:extLst>
          </p:cNvPr>
          <p:cNvSpPr>
            <a:spLocks noGrp="1"/>
          </p:cNvSpPr>
          <p:nvPr>
            <p:custDataLst>
              <p:tags r:id="rId100"/>
            </p:custDataLst>
          </p:nvPr>
        </p:nvSpPr>
        <p:spPr bwMode="auto">
          <a:xfrm>
            <a:off x="59354" y="6201670"/>
            <a:ext cx="1135855" cy="223242"/>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Hypercare</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Text Placeholder 2">
            <a:extLst>
              <a:ext uri="{FF2B5EF4-FFF2-40B4-BE49-F238E27FC236}">
                <a16:creationId xmlns:a16="http://schemas.microsoft.com/office/drawing/2014/main" id="{9B8A120B-DE43-4102-A6F8-09A89A1B64FD}"/>
              </a:ext>
            </a:extLst>
          </p:cNvPr>
          <p:cNvSpPr>
            <a:spLocks noGrp="1"/>
          </p:cNvSpPr>
          <p:nvPr>
            <p:custDataLst>
              <p:tags r:id="rId101"/>
            </p:custDataLst>
          </p:nvPr>
        </p:nvSpPr>
        <p:spPr bwMode="auto">
          <a:xfrm>
            <a:off x="71438" y="1201813"/>
            <a:ext cx="5635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B31A042-FDC6-4D49-B865-3A0531315A5A}" type="datetime'''A''ct''i''''''''''''''v''''''''''''''i''ty'''''''''''">
              <a:rPr kumimoji="0" lang="en-GB" altLang="en-US" sz="1000" b="1"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Activity</a:t>
            </a:fld>
            <a:endParaRPr kumimoji="0" lang="en-GB" sz="10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Text Placeholder 2">
            <a:extLst>
              <a:ext uri="{FF2B5EF4-FFF2-40B4-BE49-F238E27FC236}">
                <a16:creationId xmlns:a16="http://schemas.microsoft.com/office/drawing/2014/main" id="{B1E780C7-F9B5-447E-99EC-0F1A9164FE49}"/>
              </a:ext>
            </a:extLst>
          </p:cNvPr>
          <p:cNvSpPr>
            <a:spLocks noGrp="1"/>
          </p:cNvSpPr>
          <p:nvPr>
            <p:custDataLst>
              <p:tags r:id="rId102"/>
            </p:custDataLst>
          </p:nvPr>
        </p:nvSpPr>
        <p:spPr bwMode="auto">
          <a:xfrm>
            <a:off x="68481" y="5294953"/>
            <a:ext cx="21272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SIT</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 Placeholder 2">
            <a:extLst>
              <a:ext uri="{FF2B5EF4-FFF2-40B4-BE49-F238E27FC236}">
                <a16:creationId xmlns:a16="http://schemas.microsoft.com/office/drawing/2014/main" id="{9B8A120B-DE43-4102-A6F8-09A89A1B64FD}"/>
              </a:ext>
            </a:extLst>
          </p:cNvPr>
          <p:cNvSpPr>
            <a:spLocks noGrp="1"/>
          </p:cNvSpPr>
          <p:nvPr>
            <p:custDataLst>
              <p:tags r:id="rId103"/>
            </p:custDataLst>
          </p:nvPr>
        </p:nvSpPr>
        <p:spPr bwMode="auto">
          <a:xfrm>
            <a:off x="54410" y="4725840"/>
            <a:ext cx="7985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Integration</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xt Placeholder 2">
            <a:extLst>
              <a:ext uri="{FF2B5EF4-FFF2-40B4-BE49-F238E27FC236}">
                <a16:creationId xmlns:a16="http://schemas.microsoft.com/office/drawing/2014/main" id="{9B8A120B-DE43-4102-A6F8-09A89A1B64FD}"/>
              </a:ext>
            </a:extLst>
          </p:cNvPr>
          <p:cNvSpPr>
            <a:spLocks noGrp="1"/>
          </p:cNvSpPr>
          <p:nvPr>
            <p:custDataLst>
              <p:tags r:id="rId104"/>
            </p:custDataLst>
          </p:nvPr>
        </p:nvSpPr>
        <p:spPr bwMode="auto">
          <a:xfrm>
            <a:off x="63936" y="5980013"/>
            <a:ext cx="5064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Deploy</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7" name="Text Placeholder 2">
            <a:extLst>
              <a:ext uri="{FF2B5EF4-FFF2-40B4-BE49-F238E27FC236}">
                <a16:creationId xmlns:a16="http://schemas.microsoft.com/office/drawing/2014/main" id="{BDAA2722-0E29-4CA1-85BA-9AE9FD6CB311}"/>
              </a:ext>
            </a:extLst>
          </p:cNvPr>
          <p:cNvSpPr>
            <a:spLocks noGrp="1"/>
          </p:cNvSpPr>
          <p:nvPr>
            <p:custDataLst>
              <p:tags r:id="rId105"/>
            </p:custDataLst>
          </p:nvPr>
        </p:nvSpPr>
        <p:spPr bwMode="auto">
          <a:xfrm>
            <a:off x="11035901" y="5989833"/>
            <a:ext cx="1127125" cy="150813"/>
          </a:xfrm>
          <a:prstGeom prst="rect">
            <a:avLst/>
          </a:prstGeom>
          <a:solidFill>
            <a:srgbClr val="92D050"/>
          </a:solidFill>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BGL: 27</a:t>
            </a:r>
            <a:r>
              <a:rPr kumimoji="0" lang="en-GB" altLang="en-US" sz="900" b="0" i="0" u="none" strike="noStrike" kern="1200" cap="none" spc="0" normalizeH="0" baseline="30000" noProof="0" dirty="0">
                <a:ln>
                  <a:noFill/>
                </a:ln>
                <a:solidFill>
                  <a:prstClr val="black"/>
                </a:solidFill>
                <a:effectLst/>
                <a:uLnTx/>
                <a:uFillTx/>
                <a:latin typeface="Calibri" panose="020F0502020204030204"/>
                <a:ea typeface="+mn-ea"/>
                <a:cs typeface="+mn-cs"/>
              </a:rPr>
              <a:t>th</a:t>
            </a: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 June 2021</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0" name="Text Placeholder 2">
            <a:extLst>
              <a:ext uri="{FF2B5EF4-FFF2-40B4-BE49-F238E27FC236}">
                <a16:creationId xmlns:a16="http://schemas.microsoft.com/office/drawing/2014/main" id="{BC2E7D08-59A7-45E3-952C-036D50106B63}"/>
              </a:ext>
            </a:extLst>
          </p:cNvPr>
          <p:cNvSpPr>
            <a:spLocks noGrp="1"/>
          </p:cNvSpPr>
          <p:nvPr>
            <p:custDataLst>
              <p:tags r:id="rId106"/>
            </p:custDataLst>
          </p:nvPr>
        </p:nvSpPr>
        <p:spPr bwMode="auto">
          <a:xfrm>
            <a:off x="71437" y="1857318"/>
            <a:ext cx="11112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1100" b="1" i="0" u="none" strike="noStrike" kern="1200" cap="none" spc="0" normalizeH="0" baseline="0" noProof="0" dirty="0">
                <a:ln>
                  <a:noFill/>
                </a:ln>
                <a:solidFill>
                  <a:prstClr val="black"/>
                </a:solidFill>
                <a:effectLst/>
                <a:uLnTx/>
                <a:uFillTx/>
                <a:latin typeface="Calibri" panose="020F0502020204030204"/>
                <a:ea typeface="+mn-ea"/>
                <a:cs typeface="+mn-cs"/>
              </a:rPr>
              <a:t>ADF Milestones</a:t>
            </a:r>
            <a:endParaRPr kumimoji="0" lang="en-GB" sz="11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 Placeholder 2">
            <a:extLst>
              <a:ext uri="{FF2B5EF4-FFF2-40B4-BE49-F238E27FC236}">
                <a16:creationId xmlns:a16="http://schemas.microsoft.com/office/drawing/2014/main" id="{9B8A120B-DE43-4102-A6F8-09A89A1B64FD}"/>
              </a:ext>
            </a:extLst>
          </p:cNvPr>
          <p:cNvSpPr>
            <a:spLocks noGrp="1"/>
          </p:cNvSpPr>
          <p:nvPr>
            <p:custDataLst>
              <p:tags r:id="rId107"/>
            </p:custDataLst>
          </p:nvPr>
        </p:nvSpPr>
        <p:spPr bwMode="auto">
          <a:xfrm>
            <a:off x="58560" y="5518093"/>
            <a:ext cx="2873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UAT</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useBgFill="1">
        <p:nvSpPr>
          <p:cNvPr id="213" name="Text Placeholder 2">
            <a:extLst>
              <a:ext uri="{FF2B5EF4-FFF2-40B4-BE49-F238E27FC236}">
                <a16:creationId xmlns:a16="http://schemas.microsoft.com/office/drawing/2014/main" id="{9B8A120B-DE43-4102-A6F8-09A89A1B64FD}"/>
              </a:ext>
            </a:extLst>
          </p:cNvPr>
          <p:cNvSpPr>
            <a:spLocks noGrp="1"/>
          </p:cNvSpPr>
          <p:nvPr>
            <p:custDataLst>
              <p:tags r:id="rId108"/>
            </p:custDataLst>
          </p:nvPr>
        </p:nvSpPr>
        <p:spPr bwMode="auto">
          <a:xfrm>
            <a:off x="4014788" y="6656288"/>
            <a:ext cx="1168400" cy="192088"/>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Christmas Break</a:t>
            </a:r>
          </a:p>
        </p:txBody>
      </p:sp>
      <p:sp>
        <p:nvSpPr>
          <p:cNvPr id="6" name="Text Placeholder 2">
            <a:extLst>
              <a:ext uri="{FF2B5EF4-FFF2-40B4-BE49-F238E27FC236}">
                <a16:creationId xmlns:a16="http://schemas.microsoft.com/office/drawing/2014/main" id="{9B8A120B-DE43-4102-A6F8-09A89A1B64FD}"/>
              </a:ext>
            </a:extLst>
          </p:cNvPr>
          <p:cNvSpPr>
            <a:spLocks noGrp="1"/>
          </p:cNvSpPr>
          <p:nvPr>
            <p:custDataLst>
              <p:tags r:id="rId109"/>
            </p:custDataLst>
          </p:nvPr>
        </p:nvSpPr>
        <p:spPr bwMode="auto">
          <a:xfrm>
            <a:off x="58560" y="4357899"/>
            <a:ext cx="819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Application</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ext Placeholder 2">
            <a:extLst>
              <a:ext uri="{FF2B5EF4-FFF2-40B4-BE49-F238E27FC236}">
                <a16:creationId xmlns:a16="http://schemas.microsoft.com/office/drawing/2014/main" id="{9B8A120B-DE43-4102-A6F8-09A89A1B64FD}"/>
              </a:ext>
            </a:extLst>
          </p:cNvPr>
          <p:cNvSpPr>
            <a:spLocks noGrp="1"/>
          </p:cNvSpPr>
          <p:nvPr>
            <p:custDataLst>
              <p:tags r:id="rId110"/>
            </p:custDataLst>
          </p:nvPr>
        </p:nvSpPr>
        <p:spPr bwMode="auto">
          <a:xfrm>
            <a:off x="58559" y="4146564"/>
            <a:ext cx="2603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I&amp;C</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Text Placeholder 2">
            <a:extLst>
              <a:ext uri="{FF2B5EF4-FFF2-40B4-BE49-F238E27FC236}">
                <a16:creationId xmlns:a16="http://schemas.microsoft.com/office/drawing/2014/main" id="{3266A561-71B6-403B-B5AB-62980CE503D4}"/>
              </a:ext>
            </a:extLst>
          </p:cNvPr>
          <p:cNvSpPr>
            <a:spLocks noGrp="1"/>
          </p:cNvSpPr>
          <p:nvPr>
            <p:custDataLst>
              <p:tags r:id="rId111"/>
            </p:custDataLst>
          </p:nvPr>
        </p:nvSpPr>
        <p:spPr bwMode="auto">
          <a:xfrm>
            <a:off x="4362349" y="4165104"/>
            <a:ext cx="915988" cy="150813"/>
          </a:xfrm>
          <a:prstGeom prst="rect">
            <a:avLst/>
          </a:prstGeom>
          <a:solidFill>
            <a:srgbClr val="92D050"/>
          </a:solidFill>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Scope definition</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Text Placeholder 2">
            <a:extLst>
              <a:ext uri="{FF2B5EF4-FFF2-40B4-BE49-F238E27FC236}">
                <a16:creationId xmlns:a16="http://schemas.microsoft.com/office/drawing/2014/main" id="{A5F4CED1-400D-4599-9D62-DE8A96752162}"/>
              </a:ext>
            </a:extLst>
          </p:cNvPr>
          <p:cNvSpPr>
            <a:spLocks noGrp="1"/>
          </p:cNvSpPr>
          <p:nvPr>
            <p:custDataLst>
              <p:tags r:id="rId112"/>
            </p:custDataLst>
          </p:nvPr>
        </p:nvSpPr>
        <p:spPr bwMode="auto">
          <a:xfrm>
            <a:off x="9701215" y="4424064"/>
            <a:ext cx="850900" cy="150813"/>
          </a:xfrm>
          <a:prstGeom prst="rect">
            <a:avLst/>
          </a:prstGeom>
          <a:solidFill>
            <a:srgbClr val="92D050"/>
          </a:solidFill>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rPr>
              <a:t>Build complete</a:t>
            </a:r>
          </a:p>
        </p:txBody>
      </p:sp>
      <p:sp>
        <p:nvSpPr>
          <p:cNvPr id="241" name="Text Placeholder 2">
            <a:extLst>
              <a:ext uri="{FF2B5EF4-FFF2-40B4-BE49-F238E27FC236}">
                <a16:creationId xmlns:a16="http://schemas.microsoft.com/office/drawing/2014/main" id="{2CE6F9D0-51A3-4515-B1FD-5FCA7220FB63}"/>
              </a:ext>
            </a:extLst>
          </p:cNvPr>
          <p:cNvSpPr>
            <a:spLocks noGrp="1"/>
          </p:cNvSpPr>
          <p:nvPr>
            <p:custDataLst>
              <p:tags r:id="rId113"/>
            </p:custDataLst>
          </p:nvPr>
        </p:nvSpPr>
        <p:spPr bwMode="auto">
          <a:xfrm>
            <a:off x="10749681" y="5535511"/>
            <a:ext cx="803275" cy="150813"/>
          </a:xfrm>
          <a:prstGeom prst="rect">
            <a:avLst/>
          </a:prstGeom>
          <a:solidFill>
            <a:srgbClr val="92D050"/>
          </a:solidFill>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rPr>
              <a:t>UAT complete</a:t>
            </a:r>
          </a:p>
        </p:txBody>
      </p:sp>
      <p:sp>
        <p:nvSpPr>
          <p:cNvPr id="220" name="Text Placeholder 2">
            <a:extLst>
              <a:ext uri="{FF2B5EF4-FFF2-40B4-BE49-F238E27FC236}">
                <a16:creationId xmlns:a16="http://schemas.microsoft.com/office/drawing/2014/main" id="{48AB7BB4-B232-4E36-AC51-794984501184}"/>
              </a:ext>
            </a:extLst>
          </p:cNvPr>
          <p:cNvSpPr>
            <a:spLocks noGrp="1"/>
          </p:cNvSpPr>
          <p:nvPr>
            <p:custDataLst>
              <p:tags r:id="rId114"/>
            </p:custDataLst>
          </p:nvPr>
        </p:nvSpPr>
        <p:spPr bwMode="auto">
          <a:xfrm>
            <a:off x="58381" y="5741887"/>
            <a:ext cx="10604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Change Mgmt.</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TextBox 116">
            <a:extLst>
              <a:ext uri="{FF2B5EF4-FFF2-40B4-BE49-F238E27FC236}">
                <a16:creationId xmlns:a16="http://schemas.microsoft.com/office/drawing/2014/main" id="{863F6FE9-D080-4D97-8FC6-FA23FB0E26CE}"/>
              </a:ext>
            </a:extLst>
          </p:cNvPr>
          <p:cNvSpPr txBox="1"/>
          <p:nvPr/>
        </p:nvSpPr>
        <p:spPr>
          <a:xfrm>
            <a:off x="7444652" y="4899817"/>
            <a:ext cx="96044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70C0"/>
                </a:solidFill>
                <a:effectLst/>
                <a:uLnTx/>
                <a:uFillTx/>
                <a:latin typeface="Calibri" panose="020F0502020204030204"/>
                <a:ea typeface="+mn-ea"/>
                <a:cs typeface="+mn-cs"/>
              </a:rPr>
              <a:t>Master data flow complete </a:t>
            </a:r>
            <a:endParaRPr kumimoji="0" lang="en-US" sz="9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119" name="TextBox 118">
            <a:extLst>
              <a:ext uri="{FF2B5EF4-FFF2-40B4-BE49-F238E27FC236}">
                <a16:creationId xmlns:a16="http://schemas.microsoft.com/office/drawing/2014/main" id="{1E269143-D813-4EEF-956F-F2C98EFE388B}"/>
              </a:ext>
            </a:extLst>
          </p:cNvPr>
          <p:cNvSpPr txBox="1"/>
          <p:nvPr/>
        </p:nvSpPr>
        <p:spPr>
          <a:xfrm>
            <a:off x="8438089" y="4897317"/>
            <a:ext cx="1226010" cy="5078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70C0"/>
                </a:solidFill>
                <a:effectLst/>
                <a:uLnTx/>
                <a:uFillTx/>
                <a:latin typeface="Calibri" panose="020F0502020204030204"/>
                <a:ea typeface="+mn-ea"/>
                <a:cs typeface="+mn-cs"/>
              </a:rPr>
              <a:t>Condition Inbou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70C0"/>
                </a:solidFill>
                <a:effectLst/>
                <a:uLnTx/>
                <a:uFillTx/>
                <a:latin typeface="Calibri" panose="020F0502020204030204"/>
                <a:ea typeface="+mn-ea"/>
                <a:cs typeface="+mn-cs"/>
              </a:rPr>
              <a:t>flow complete </a:t>
            </a:r>
            <a:endParaRPr kumimoji="0" lang="en-US" sz="900" b="0" i="0" u="none" strike="noStrike" kern="1200" cap="none" spc="0" normalizeH="0" baseline="0" noProof="0" dirty="0">
              <a:ln>
                <a:noFill/>
              </a:ln>
              <a:solidFill>
                <a:srgbClr val="0070C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120" name="TextBox 119">
            <a:extLst>
              <a:ext uri="{FF2B5EF4-FFF2-40B4-BE49-F238E27FC236}">
                <a16:creationId xmlns:a16="http://schemas.microsoft.com/office/drawing/2014/main" id="{2D5BFE55-F0BC-478C-84AD-5C26512A517F}"/>
              </a:ext>
            </a:extLst>
          </p:cNvPr>
          <p:cNvSpPr txBox="1"/>
          <p:nvPr/>
        </p:nvSpPr>
        <p:spPr>
          <a:xfrm>
            <a:off x="9478987" y="4894396"/>
            <a:ext cx="141548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70C0"/>
                </a:solidFill>
                <a:effectLst/>
                <a:uLnTx/>
                <a:uFillTx/>
                <a:latin typeface="Calibri" panose="020F0502020204030204"/>
                <a:ea typeface="+mn-ea"/>
                <a:cs typeface="+mn-cs"/>
              </a:rPr>
              <a:t>Condition Outbou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70C0"/>
                </a:solidFill>
                <a:effectLst/>
                <a:uLnTx/>
                <a:uFillTx/>
                <a:latin typeface="Calibri" panose="020F0502020204030204"/>
                <a:ea typeface="+mn-ea"/>
                <a:cs typeface="+mn-cs"/>
              </a:rPr>
              <a:t>Flow complete</a:t>
            </a:r>
            <a:endParaRPr kumimoji="0" lang="en-US" sz="9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121" name="Isosceles Triangle 120">
            <a:extLst>
              <a:ext uri="{FF2B5EF4-FFF2-40B4-BE49-F238E27FC236}">
                <a16:creationId xmlns:a16="http://schemas.microsoft.com/office/drawing/2014/main" id="{B40D3420-5A61-4FBF-9C73-33896915D82B}"/>
              </a:ext>
            </a:extLst>
          </p:cNvPr>
          <p:cNvSpPr/>
          <p:nvPr>
            <p:custDataLst>
              <p:tags r:id="rId115"/>
            </p:custDataLst>
          </p:nvPr>
        </p:nvSpPr>
        <p:spPr bwMode="gray">
          <a:xfrm>
            <a:off x="7579504" y="4828866"/>
            <a:ext cx="114300" cy="114300"/>
          </a:xfrm>
          <a:prstGeom prst="triangle">
            <a:avLst/>
          </a:prstGeom>
          <a:solidFill>
            <a:schemeClr val="accent6">
              <a:lumMod val="40000"/>
              <a:lumOff val="60000"/>
            </a:schemeClr>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2" name="Isosceles Triangle 121">
            <a:extLst>
              <a:ext uri="{FF2B5EF4-FFF2-40B4-BE49-F238E27FC236}">
                <a16:creationId xmlns:a16="http://schemas.microsoft.com/office/drawing/2014/main" id="{FDFA1A7B-CA64-4B1C-BA1A-93410833E2A9}"/>
              </a:ext>
            </a:extLst>
          </p:cNvPr>
          <p:cNvSpPr/>
          <p:nvPr>
            <p:custDataLst>
              <p:tags r:id="rId116"/>
            </p:custDataLst>
          </p:nvPr>
        </p:nvSpPr>
        <p:spPr bwMode="gray">
          <a:xfrm>
            <a:off x="8581915" y="4836443"/>
            <a:ext cx="114300" cy="114300"/>
          </a:xfrm>
          <a:prstGeom prst="triangle">
            <a:avLst/>
          </a:prstGeom>
          <a:solidFill>
            <a:schemeClr val="accent6">
              <a:lumMod val="40000"/>
              <a:lumOff val="60000"/>
            </a:schemeClr>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Isosceles Triangle 122">
            <a:extLst>
              <a:ext uri="{FF2B5EF4-FFF2-40B4-BE49-F238E27FC236}">
                <a16:creationId xmlns:a16="http://schemas.microsoft.com/office/drawing/2014/main" id="{55BEE4E3-5B2E-4C10-A3B2-AAB01EBBF32A}"/>
              </a:ext>
            </a:extLst>
          </p:cNvPr>
          <p:cNvSpPr/>
          <p:nvPr>
            <p:custDataLst>
              <p:tags r:id="rId117"/>
            </p:custDataLst>
          </p:nvPr>
        </p:nvSpPr>
        <p:spPr bwMode="gray">
          <a:xfrm>
            <a:off x="9558700" y="4799249"/>
            <a:ext cx="114300" cy="114300"/>
          </a:xfrm>
          <a:prstGeom prst="triangle">
            <a:avLst/>
          </a:prstGeom>
          <a:solidFill>
            <a:schemeClr val="accent6">
              <a:lumMod val="40000"/>
              <a:lumOff val="60000"/>
            </a:schemeClr>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5" name="TextBox 124">
            <a:extLst>
              <a:ext uri="{FF2B5EF4-FFF2-40B4-BE49-F238E27FC236}">
                <a16:creationId xmlns:a16="http://schemas.microsoft.com/office/drawing/2014/main" id="{19DEAB60-A77C-48EB-A24A-914C1F137128}"/>
              </a:ext>
            </a:extLst>
          </p:cNvPr>
          <p:cNvSpPr txBox="1"/>
          <p:nvPr/>
        </p:nvSpPr>
        <p:spPr>
          <a:xfrm>
            <a:off x="-27904" y="4954149"/>
            <a:ext cx="1389979"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Integration Milestones</a:t>
            </a:r>
            <a:endPar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Isosceles Triangle 125">
            <a:extLst>
              <a:ext uri="{FF2B5EF4-FFF2-40B4-BE49-F238E27FC236}">
                <a16:creationId xmlns:a16="http://schemas.microsoft.com/office/drawing/2014/main" id="{3D26003A-15C0-42E9-AD59-97444AF2F22F}"/>
              </a:ext>
            </a:extLst>
          </p:cNvPr>
          <p:cNvSpPr/>
          <p:nvPr>
            <p:custDataLst>
              <p:tags r:id="rId118"/>
            </p:custDataLst>
          </p:nvPr>
        </p:nvSpPr>
        <p:spPr bwMode="gray">
          <a:xfrm>
            <a:off x="1910781" y="4885021"/>
            <a:ext cx="114300" cy="114300"/>
          </a:xfrm>
          <a:prstGeom prst="triangle">
            <a:avLst/>
          </a:prstGeom>
          <a:solidFill>
            <a:schemeClr val="accent5">
              <a:lumMod val="40000"/>
              <a:lumOff val="60000"/>
            </a:schemeClr>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 name="TextBox 126">
            <a:extLst>
              <a:ext uri="{FF2B5EF4-FFF2-40B4-BE49-F238E27FC236}">
                <a16:creationId xmlns:a16="http://schemas.microsoft.com/office/drawing/2014/main" id="{F1CCFCDC-04F2-4D5F-AE6E-03C0EDC0C286}"/>
              </a:ext>
            </a:extLst>
          </p:cNvPr>
          <p:cNvSpPr txBox="1"/>
          <p:nvPr/>
        </p:nvSpPr>
        <p:spPr>
          <a:xfrm>
            <a:off x="1801549" y="4952719"/>
            <a:ext cx="675217"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70C0"/>
                </a:solidFill>
                <a:effectLst/>
                <a:uLnTx/>
                <a:uFillTx/>
                <a:latin typeface="Calibri" panose="020F0502020204030204"/>
                <a:ea typeface="+mn-ea"/>
                <a:cs typeface="+mn-cs"/>
              </a:rPr>
              <a:t>DEV Env</a:t>
            </a:r>
            <a:endParaRPr kumimoji="0" lang="en-US" sz="9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128" name="Isosceles Triangle 127">
            <a:extLst>
              <a:ext uri="{FF2B5EF4-FFF2-40B4-BE49-F238E27FC236}">
                <a16:creationId xmlns:a16="http://schemas.microsoft.com/office/drawing/2014/main" id="{7363A2A3-7508-4B2C-9A78-233B27390729}"/>
              </a:ext>
            </a:extLst>
          </p:cNvPr>
          <p:cNvSpPr/>
          <p:nvPr>
            <p:custDataLst>
              <p:tags r:id="rId119"/>
            </p:custDataLst>
          </p:nvPr>
        </p:nvSpPr>
        <p:spPr bwMode="gray">
          <a:xfrm>
            <a:off x="4922290" y="4895752"/>
            <a:ext cx="114300" cy="114300"/>
          </a:xfrm>
          <a:prstGeom prst="triangle">
            <a:avLst/>
          </a:prstGeom>
          <a:solidFill>
            <a:schemeClr val="accent5">
              <a:lumMod val="40000"/>
              <a:lumOff val="60000"/>
            </a:schemeClr>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9" name="TextBox 128">
            <a:extLst>
              <a:ext uri="{FF2B5EF4-FFF2-40B4-BE49-F238E27FC236}">
                <a16:creationId xmlns:a16="http://schemas.microsoft.com/office/drawing/2014/main" id="{0611AC98-EAAC-4E8C-A54F-A61B3ACA2409}"/>
              </a:ext>
            </a:extLst>
          </p:cNvPr>
          <p:cNvSpPr txBox="1"/>
          <p:nvPr/>
        </p:nvSpPr>
        <p:spPr>
          <a:xfrm>
            <a:off x="4825940" y="5002088"/>
            <a:ext cx="627098"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70C0"/>
                </a:solidFill>
                <a:effectLst/>
                <a:uLnTx/>
                <a:uFillTx/>
                <a:latin typeface="Calibri" panose="020F0502020204030204"/>
                <a:ea typeface="+mn-ea"/>
                <a:cs typeface="+mn-cs"/>
              </a:rPr>
              <a:t>LQA Env</a:t>
            </a:r>
            <a:endParaRPr kumimoji="0" lang="en-US" sz="9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130" name="Isosceles Triangle 129">
            <a:extLst>
              <a:ext uri="{FF2B5EF4-FFF2-40B4-BE49-F238E27FC236}">
                <a16:creationId xmlns:a16="http://schemas.microsoft.com/office/drawing/2014/main" id="{5CF9A64D-0756-49C7-A04E-645E6A9027D2}"/>
              </a:ext>
            </a:extLst>
          </p:cNvPr>
          <p:cNvSpPr/>
          <p:nvPr>
            <p:custDataLst>
              <p:tags r:id="rId120"/>
            </p:custDataLst>
          </p:nvPr>
        </p:nvSpPr>
        <p:spPr bwMode="gray">
          <a:xfrm>
            <a:off x="5692881" y="4887075"/>
            <a:ext cx="114300" cy="114300"/>
          </a:xfrm>
          <a:prstGeom prst="triangle">
            <a:avLst/>
          </a:prstGeom>
          <a:solidFill>
            <a:schemeClr val="accent5">
              <a:lumMod val="40000"/>
              <a:lumOff val="60000"/>
            </a:schemeClr>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1" name="TextBox 130">
            <a:extLst>
              <a:ext uri="{FF2B5EF4-FFF2-40B4-BE49-F238E27FC236}">
                <a16:creationId xmlns:a16="http://schemas.microsoft.com/office/drawing/2014/main" id="{A06E0AFC-B0A0-43A7-A116-453EC224C5DE}"/>
              </a:ext>
            </a:extLst>
          </p:cNvPr>
          <p:cNvSpPr txBox="1"/>
          <p:nvPr/>
        </p:nvSpPr>
        <p:spPr>
          <a:xfrm>
            <a:off x="5609402" y="4999940"/>
            <a:ext cx="627098"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70C0"/>
                </a:solidFill>
                <a:effectLst/>
                <a:uLnTx/>
                <a:uFillTx/>
                <a:latin typeface="Calibri" panose="020F0502020204030204"/>
                <a:ea typeface="+mn-ea"/>
                <a:cs typeface="+mn-cs"/>
              </a:rPr>
              <a:t>SQA Env</a:t>
            </a:r>
            <a:endParaRPr kumimoji="0" lang="en-US" sz="9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132" name="Text Placeholder 2">
            <a:extLst>
              <a:ext uri="{FF2B5EF4-FFF2-40B4-BE49-F238E27FC236}">
                <a16:creationId xmlns:a16="http://schemas.microsoft.com/office/drawing/2014/main" id="{97705D42-9611-4F50-B8CE-2E545A6A2A42}"/>
              </a:ext>
            </a:extLst>
          </p:cNvPr>
          <p:cNvSpPr>
            <a:spLocks noGrp="1"/>
          </p:cNvSpPr>
          <p:nvPr>
            <p:custDataLst>
              <p:tags r:id="rId121"/>
            </p:custDataLst>
          </p:nvPr>
        </p:nvSpPr>
        <p:spPr bwMode="auto">
          <a:xfrm>
            <a:off x="3473568" y="1479003"/>
            <a:ext cx="1917577" cy="180000"/>
          </a:xfrm>
          <a:prstGeom prst="homePlate">
            <a:avLst>
              <a:gd name="adj" fmla="val 18077"/>
            </a:avLst>
          </a:prstGeom>
          <a:solidFill>
            <a:schemeClr val="accent4">
              <a:lumMod val="20000"/>
              <a:lumOff val="80000"/>
            </a:schemeClr>
          </a:solidFill>
          <a:ln w="9525" algn="ctr">
            <a:solidFill>
              <a:schemeClr val="tx1"/>
            </a:solidFill>
          </a:ln>
          <a:effectLst/>
        </p:spPr>
        <p:txBody>
          <a:bodyPr vert="horz" wrap="none" lIns="90488" tIns="45720" rIns="0"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Build + FUT</a:t>
            </a:r>
          </a:p>
        </p:txBody>
      </p:sp>
      <p:sp>
        <p:nvSpPr>
          <p:cNvPr id="134" name="Text Placeholder 2">
            <a:extLst>
              <a:ext uri="{FF2B5EF4-FFF2-40B4-BE49-F238E27FC236}">
                <a16:creationId xmlns:a16="http://schemas.microsoft.com/office/drawing/2014/main" id="{9CF04137-9CD7-4916-B249-1A161AD7A5CC}"/>
              </a:ext>
            </a:extLst>
          </p:cNvPr>
          <p:cNvSpPr>
            <a:spLocks noGrp="1"/>
          </p:cNvSpPr>
          <p:nvPr>
            <p:custDataLst>
              <p:tags r:id="rId122"/>
            </p:custDataLst>
          </p:nvPr>
        </p:nvSpPr>
        <p:spPr bwMode="auto">
          <a:xfrm>
            <a:off x="6631401" y="1476375"/>
            <a:ext cx="3759352" cy="202479"/>
          </a:xfrm>
          <a:prstGeom prst="homePlate">
            <a:avLst>
              <a:gd name="adj" fmla="val 18077"/>
            </a:avLst>
          </a:prstGeom>
          <a:solidFill>
            <a:schemeClr val="accent4">
              <a:lumMod val="20000"/>
              <a:lumOff val="80000"/>
            </a:schemeClr>
          </a:solidFill>
          <a:ln w="9525" algn="ctr">
            <a:solidFill>
              <a:schemeClr val="tx1"/>
            </a:solidFill>
          </a:ln>
          <a:effectLst/>
        </p:spPr>
        <p:txBody>
          <a:bodyPr vert="horz" wrap="none" lIns="90488" tIns="45720" rIns="0"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Integration  Test</a:t>
            </a:r>
          </a:p>
        </p:txBody>
      </p:sp>
      <p:sp>
        <p:nvSpPr>
          <p:cNvPr id="135" name="Text Placeholder 2">
            <a:extLst>
              <a:ext uri="{FF2B5EF4-FFF2-40B4-BE49-F238E27FC236}">
                <a16:creationId xmlns:a16="http://schemas.microsoft.com/office/drawing/2014/main" id="{381CAB96-D568-49D0-9D7D-2AC23CDA9364}"/>
              </a:ext>
            </a:extLst>
          </p:cNvPr>
          <p:cNvSpPr>
            <a:spLocks noGrp="1"/>
          </p:cNvSpPr>
          <p:nvPr>
            <p:custDataLst>
              <p:tags r:id="rId123"/>
            </p:custDataLst>
          </p:nvPr>
        </p:nvSpPr>
        <p:spPr bwMode="auto">
          <a:xfrm>
            <a:off x="8916988" y="1701971"/>
            <a:ext cx="287341" cy="180000"/>
          </a:xfrm>
          <a:prstGeom prst="homePlate">
            <a:avLst>
              <a:gd name="adj" fmla="val 18077"/>
            </a:avLst>
          </a:prstGeom>
          <a:solidFill>
            <a:schemeClr val="accent4">
              <a:lumMod val="20000"/>
              <a:lumOff val="80000"/>
            </a:schemeClr>
          </a:solidFill>
          <a:ln w="9525" algn="ctr">
            <a:solidFill>
              <a:schemeClr val="tx1"/>
            </a:solidFill>
          </a:ln>
          <a:effectLst/>
        </p:spPr>
        <p:txBody>
          <a:bodyPr vert="horz" wrap="none" lIns="90488" tIns="45720" rIns="0"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UAT-CUT</a:t>
            </a:r>
          </a:p>
        </p:txBody>
      </p:sp>
      <p:sp>
        <p:nvSpPr>
          <p:cNvPr id="136" name="Text Placeholder 2">
            <a:extLst>
              <a:ext uri="{FF2B5EF4-FFF2-40B4-BE49-F238E27FC236}">
                <a16:creationId xmlns:a16="http://schemas.microsoft.com/office/drawing/2014/main" id="{C7799B71-0646-4643-B8D6-001E3CAFA5FD}"/>
              </a:ext>
            </a:extLst>
          </p:cNvPr>
          <p:cNvSpPr>
            <a:spLocks noGrp="1"/>
          </p:cNvSpPr>
          <p:nvPr>
            <p:custDataLst>
              <p:tags r:id="rId124"/>
            </p:custDataLst>
          </p:nvPr>
        </p:nvSpPr>
        <p:spPr bwMode="auto">
          <a:xfrm>
            <a:off x="8901905" y="1943336"/>
            <a:ext cx="1488835" cy="236807"/>
          </a:xfrm>
          <a:prstGeom prst="homePlate">
            <a:avLst>
              <a:gd name="adj" fmla="val 18077"/>
            </a:avLst>
          </a:prstGeom>
          <a:solidFill>
            <a:schemeClr val="accent4">
              <a:lumMod val="20000"/>
              <a:lumOff val="80000"/>
            </a:schemeClr>
          </a:solidFill>
          <a:ln w="9525" algn="ctr">
            <a:solidFill>
              <a:schemeClr val="tx1"/>
            </a:solidFill>
          </a:ln>
          <a:effectLst/>
        </p:spPr>
        <p:txBody>
          <a:bodyPr vert="horz" wrap="none" lIns="90488" tIns="45720" rIns="0"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UAT</a:t>
            </a:r>
          </a:p>
        </p:txBody>
      </p:sp>
      <p:sp>
        <p:nvSpPr>
          <p:cNvPr id="137" name="Text Placeholder 2">
            <a:extLst>
              <a:ext uri="{FF2B5EF4-FFF2-40B4-BE49-F238E27FC236}">
                <a16:creationId xmlns:a16="http://schemas.microsoft.com/office/drawing/2014/main" id="{4E8F50DC-80CA-4F33-95CE-41D3998FEB9F}"/>
              </a:ext>
            </a:extLst>
          </p:cNvPr>
          <p:cNvSpPr>
            <a:spLocks noGrp="1"/>
          </p:cNvSpPr>
          <p:nvPr>
            <p:custDataLst>
              <p:tags r:id="rId125"/>
            </p:custDataLst>
          </p:nvPr>
        </p:nvSpPr>
        <p:spPr bwMode="auto">
          <a:xfrm>
            <a:off x="5105644" y="1693704"/>
            <a:ext cx="2506417" cy="230346"/>
          </a:xfrm>
          <a:prstGeom prst="homePlate">
            <a:avLst>
              <a:gd name="adj" fmla="val 18077"/>
            </a:avLst>
          </a:prstGeom>
          <a:solidFill>
            <a:schemeClr val="accent4">
              <a:lumMod val="20000"/>
              <a:lumOff val="80000"/>
            </a:schemeClr>
          </a:solidFill>
          <a:ln w="9525" algn="ctr">
            <a:solidFill>
              <a:schemeClr val="tx1"/>
            </a:solidFill>
          </a:ln>
          <a:effectLst/>
        </p:spPr>
        <p:txBody>
          <a:bodyPr vert="horz" wrap="none" lIns="90488" tIns="45720" rIns="0"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System Test</a:t>
            </a:r>
          </a:p>
        </p:txBody>
      </p:sp>
      <p:sp>
        <p:nvSpPr>
          <p:cNvPr id="138" name="Text Placeholder 2">
            <a:extLst>
              <a:ext uri="{FF2B5EF4-FFF2-40B4-BE49-F238E27FC236}">
                <a16:creationId xmlns:a16="http://schemas.microsoft.com/office/drawing/2014/main" id="{BC36C793-E245-45B8-8B0A-2F86F5445A7F}"/>
              </a:ext>
            </a:extLst>
          </p:cNvPr>
          <p:cNvSpPr>
            <a:spLocks noGrp="1"/>
          </p:cNvSpPr>
          <p:nvPr>
            <p:custDataLst>
              <p:tags r:id="rId126"/>
            </p:custDataLst>
          </p:nvPr>
        </p:nvSpPr>
        <p:spPr bwMode="auto">
          <a:xfrm>
            <a:off x="10186990" y="2493401"/>
            <a:ext cx="287341" cy="180000"/>
          </a:xfrm>
          <a:prstGeom prst="homePlate">
            <a:avLst>
              <a:gd name="adj" fmla="val 18077"/>
            </a:avLst>
          </a:prstGeom>
          <a:solidFill>
            <a:schemeClr val="accent4">
              <a:lumMod val="20000"/>
              <a:lumOff val="80000"/>
            </a:schemeClr>
          </a:solidFill>
          <a:ln w="9525" algn="ctr">
            <a:solidFill>
              <a:schemeClr val="tx1"/>
            </a:solidFill>
          </a:ln>
          <a:effectLst/>
        </p:spPr>
        <p:txBody>
          <a:bodyPr vert="horz" wrap="none" lIns="90488" tIns="45720" rIns="0"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Prod-CUT</a:t>
            </a:r>
          </a:p>
        </p:txBody>
      </p:sp>
      <p:sp>
        <p:nvSpPr>
          <p:cNvPr id="139" name="Text Placeholder 2">
            <a:extLst>
              <a:ext uri="{FF2B5EF4-FFF2-40B4-BE49-F238E27FC236}">
                <a16:creationId xmlns:a16="http://schemas.microsoft.com/office/drawing/2014/main" id="{1898BF37-50F5-464F-9E79-CC4277DED7A1}"/>
              </a:ext>
            </a:extLst>
          </p:cNvPr>
          <p:cNvSpPr>
            <a:spLocks noGrp="1"/>
          </p:cNvSpPr>
          <p:nvPr>
            <p:custDataLst>
              <p:tags r:id="rId127"/>
            </p:custDataLst>
          </p:nvPr>
        </p:nvSpPr>
        <p:spPr bwMode="auto">
          <a:xfrm>
            <a:off x="10484290" y="2610385"/>
            <a:ext cx="1056583" cy="180000"/>
          </a:xfrm>
          <a:prstGeom prst="homePlate">
            <a:avLst>
              <a:gd name="adj" fmla="val 18077"/>
            </a:avLst>
          </a:prstGeom>
          <a:solidFill>
            <a:schemeClr val="accent4">
              <a:lumMod val="20000"/>
              <a:lumOff val="80000"/>
            </a:schemeClr>
          </a:solidFill>
          <a:ln w="9525" algn="ctr">
            <a:solidFill>
              <a:schemeClr val="tx1"/>
            </a:solidFill>
          </a:ln>
          <a:effectLst/>
        </p:spPr>
        <p:txBody>
          <a:bodyPr vert="horz" wrap="none" lIns="90488" tIns="45720" rIns="0"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Hypercare</a:t>
            </a:r>
          </a:p>
        </p:txBody>
      </p:sp>
      <p:sp>
        <p:nvSpPr>
          <p:cNvPr id="140" name="Isosceles Triangle 139">
            <a:extLst>
              <a:ext uri="{FF2B5EF4-FFF2-40B4-BE49-F238E27FC236}">
                <a16:creationId xmlns:a16="http://schemas.microsoft.com/office/drawing/2014/main" id="{564ED9F4-49E6-4CFD-97C6-089D55F7C9C6}"/>
              </a:ext>
            </a:extLst>
          </p:cNvPr>
          <p:cNvSpPr/>
          <p:nvPr>
            <p:custDataLst>
              <p:tags r:id="rId128"/>
            </p:custDataLst>
          </p:nvPr>
        </p:nvSpPr>
        <p:spPr bwMode="gray">
          <a:xfrm>
            <a:off x="3882456" y="1757821"/>
            <a:ext cx="114300" cy="114300"/>
          </a:xfrm>
          <a:prstGeom prst="triangle">
            <a:avLst/>
          </a:prstGeom>
          <a:solidFill>
            <a:srgbClr val="FF0000"/>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1" name="TextBox 140">
            <a:extLst>
              <a:ext uri="{FF2B5EF4-FFF2-40B4-BE49-F238E27FC236}">
                <a16:creationId xmlns:a16="http://schemas.microsoft.com/office/drawing/2014/main" id="{632A2E5E-A982-4221-9634-E08FDC9B3591}"/>
              </a:ext>
            </a:extLst>
          </p:cNvPr>
          <p:cNvSpPr txBox="1"/>
          <p:nvPr/>
        </p:nvSpPr>
        <p:spPr>
          <a:xfrm>
            <a:off x="3792274" y="1844569"/>
            <a:ext cx="1243276"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0000"/>
                </a:solidFill>
                <a:effectLst/>
                <a:uLnTx/>
                <a:uFillTx/>
                <a:latin typeface="Calibri" panose="020F0502020204030204"/>
                <a:ea typeface="+mn-ea"/>
                <a:cs typeface="+mn-cs"/>
              </a:rPr>
              <a:t>ABAP </a:t>
            </a:r>
            <a:endParaRPr kumimoji="0" lang="en-US" sz="100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143" name="Isosceles Triangle 142">
            <a:extLst>
              <a:ext uri="{FF2B5EF4-FFF2-40B4-BE49-F238E27FC236}">
                <a16:creationId xmlns:a16="http://schemas.microsoft.com/office/drawing/2014/main" id="{ABF0EB45-E1ED-42B2-86AD-C2F04020EB9E}"/>
              </a:ext>
            </a:extLst>
          </p:cNvPr>
          <p:cNvSpPr/>
          <p:nvPr>
            <p:custDataLst>
              <p:tags r:id="rId129"/>
            </p:custDataLst>
          </p:nvPr>
        </p:nvSpPr>
        <p:spPr bwMode="gray">
          <a:xfrm>
            <a:off x="3882456" y="4885021"/>
            <a:ext cx="114300" cy="114300"/>
          </a:xfrm>
          <a:prstGeom prst="triangle">
            <a:avLst/>
          </a:prstGeom>
          <a:solidFill>
            <a:schemeClr val="accent4">
              <a:lumMod val="40000"/>
              <a:lumOff val="60000"/>
            </a:schemeClr>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4" name="Text Placeholder 2">
            <a:extLst>
              <a:ext uri="{FF2B5EF4-FFF2-40B4-BE49-F238E27FC236}">
                <a16:creationId xmlns:a16="http://schemas.microsoft.com/office/drawing/2014/main" id="{35E2AB1A-6DA3-47F0-9AF3-58E4EE6A7EC4}"/>
              </a:ext>
            </a:extLst>
          </p:cNvPr>
          <p:cNvSpPr>
            <a:spLocks noGrp="1"/>
          </p:cNvSpPr>
          <p:nvPr>
            <p:custDataLst>
              <p:tags r:id="rId130"/>
            </p:custDataLst>
          </p:nvPr>
        </p:nvSpPr>
        <p:spPr bwMode="auto">
          <a:xfrm>
            <a:off x="3879851" y="5030741"/>
            <a:ext cx="935771" cy="316239"/>
          </a:xfrm>
          <a:prstGeom prst="rect">
            <a:avLst/>
          </a:prstGeom>
          <a:noFill/>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srgbClr val="0070C0"/>
                </a:solidFill>
                <a:effectLst/>
                <a:uLnTx/>
                <a:uFillTx/>
                <a:latin typeface="Calibri" panose="020F0502020204030204"/>
                <a:ea typeface="+mn-ea"/>
                <a:cs typeface="+mn-cs"/>
              </a:rPr>
              <a:t>Integration flows </a:t>
            </a:r>
          </a:p>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sz="900" b="0" i="0" u="none" strike="noStrike" kern="1200" cap="none" spc="0" normalizeH="0" baseline="0" noProof="0" dirty="0">
                <a:ln>
                  <a:noFill/>
                </a:ln>
                <a:solidFill>
                  <a:srgbClr val="0070C0"/>
                </a:solidFill>
                <a:effectLst/>
                <a:uLnTx/>
                <a:uFillTx/>
                <a:latin typeface="Calibri" panose="020F0502020204030204"/>
                <a:ea typeface="+mn-ea"/>
                <a:cs typeface="+mn-cs"/>
              </a:rPr>
              <a:t>finalization</a:t>
            </a:r>
          </a:p>
        </p:txBody>
      </p:sp>
      <p:sp>
        <p:nvSpPr>
          <p:cNvPr id="145" name="TextBox 144">
            <a:extLst>
              <a:ext uri="{FF2B5EF4-FFF2-40B4-BE49-F238E27FC236}">
                <a16:creationId xmlns:a16="http://schemas.microsoft.com/office/drawing/2014/main" id="{3793D228-74D4-49E6-B261-2EEFDADCCBF9}"/>
              </a:ext>
            </a:extLst>
          </p:cNvPr>
          <p:cNvSpPr txBox="1"/>
          <p:nvPr/>
        </p:nvSpPr>
        <p:spPr>
          <a:xfrm>
            <a:off x="459697" y="3741132"/>
            <a:ext cx="6823093"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mn-cs"/>
              </a:rPr>
              <a:t>D4GV don’t have any fixed plan. They are working in agile mode to deliver Requirements flexible.</a:t>
            </a: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46" name="Straight Connector 145">
            <a:extLst>
              <a:ext uri="{FF2B5EF4-FFF2-40B4-BE49-F238E27FC236}">
                <a16:creationId xmlns:a16="http://schemas.microsoft.com/office/drawing/2014/main" id="{C3BAD3DB-6800-41A1-97AB-FABE9BC678DA}"/>
              </a:ext>
            </a:extLst>
          </p:cNvPr>
          <p:cNvCxnSpPr/>
          <p:nvPr>
            <p:custDataLst>
              <p:tags r:id="rId131"/>
            </p:custDataLst>
          </p:nvPr>
        </p:nvCxnSpPr>
        <p:spPr bwMode="auto">
          <a:xfrm>
            <a:off x="0" y="3989848"/>
            <a:ext cx="12192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7" name="Text Placeholder 2">
            <a:extLst>
              <a:ext uri="{FF2B5EF4-FFF2-40B4-BE49-F238E27FC236}">
                <a16:creationId xmlns:a16="http://schemas.microsoft.com/office/drawing/2014/main" id="{B0192E6B-DD4A-4FDD-9802-BAF22A8C57F3}"/>
              </a:ext>
            </a:extLst>
          </p:cNvPr>
          <p:cNvSpPr>
            <a:spLocks noGrp="1"/>
          </p:cNvSpPr>
          <p:nvPr>
            <p:custDataLst>
              <p:tags r:id="rId132"/>
            </p:custDataLst>
          </p:nvPr>
        </p:nvSpPr>
        <p:spPr bwMode="auto">
          <a:xfrm>
            <a:off x="53181" y="3452657"/>
            <a:ext cx="1111250" cy="3302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Sample Test data </a:t>
            </a:r>
          </a:p>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Available for ACTPM</a:t>
            </a:r>
          </a:p>
        </p:txBody>
      </p:sp>
      <p:sp>
        <p:nvSpPr>
          <p:cNvPr id="148" name="TextBox 147">
            <a:extLst>
              <a:ext uri="{FF2B5EF4-FFF2-40B4-BE49-F238E27FC236}">
                <a16:creationId xmlns:a16="http://schemas.microsoft.com/office/drawing/2014/main" id="{1F411829-EB4D-4834-B787-69F6F3DB7D74}"/>
              </a:ext>
            </a:extLst>
          </p:cNvPr>
          <p:cNvSpPr txBox="1"/>
          <p:nvPr/>
        </p:nvSpPr>
        <p:spPr>
          <a:xfrm>
            <a:off x="4077519" y="3548067"/>
            <a:ext cx="1625512" cy="246221"/>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70C0"/>
                </a:solidFill>
                <a:effectLst/>
                <a:uLnTx/>
                <a:uFillTx/>
                <a:latin typeface="Calibri" panose="020F0502020204030204"/>
                <a:ea typeface="+mn-ea"/>
                <a:cs typeface="+mn-cs"/>
              </a:rPr>
              <a:t>Sample for all Master data</a:t>
            </a:r>
            <a:endParaRPr kumimoji="0" lang="en-US" sz="10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150" name="TextBox 149">
            <a:extLst>
              <a:ext uri="{FF2B5EF4-FFF2-40B4-BE49-F238E27FC236}">
                <a16:creationId xmlns:a16="http://schemas.microsoft.com/office/drawing/2014/main" id="{05A3ABBA-DEB7-4221-A3ED-3D1AAE732B39}"/>
              </a:ext>
            </a:extLst>
          </p:cNvPr>
          <p:cNvSpPr txBox="1"/>
          <p:nvPr/>
        </p:nvSpPr>
        <p:spPr>
          <a:xfrm>
            <a:off x="5610418" y="3499050"/>
            <a:ext cx="179052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70C0"/>
                </a:solidFill>
                <a:effectLst/>
                <a:uLnTx/>
                <a:uFillTx/>
                <a:latin typeface="Calibri" panose="020F0502020204030204"/>
                <a:ea typeface="+mn-ea"/>
                <a:cs typeface="+mn-cs"/>
              </a:rPr>
              <a:t>Sample for all Cond. Inbounds</a:t>
            </a:r>
            <a:endParaRPr kumimoji="0" lang="en-US" sz="10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151" name="TextBox 150">
            <a:extLst>
              <a:ext uri="{FF2B5EF4-FFF2-40B4-BE49-F238E27FC236}">
                <a16:creationId xmlns:a16="http://schemas.microsoft.com/office/drawing/2014/main" id="{658F33F5-E316-49BC-BA87-6EE079AE5FAD}"/>
              </a:ext>
            </a:extLst>
          </p:cNvPr>
          <p:cNvSpPr txBox="1"/>
          <p:nvPr/>
        </p:nvSpPr>
        <p:spPr>
          <a:xfrm>
            <a:off x="6505679" y="3382864"/>
            <a:ext cx="222300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70C0"/>
                </a:solidFill>
                <a:effectLst/>
                <a:uLnTx/>
                <a:uFillTx/>
                <a:latin typeface="Calibri" panose="020F0502020204030204"/>
                <a:ea typeface="+mn-ea"/>
                <a:cs typeface="+mn-cs"/>
              </a:rPr>
              <a:t>Sample for all  Condition Outbounds</a:t>
            </a:r>
            <a:endParaRPr kumimoji="0" lang="en-US" sz="10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153" name="Isosceles Triangle 152">
            <a:extLst>
              <a:ext uri="{FF2B5EF4-FFF2-40B4-BE49-F238E27FC236}">
                <a16:creationId xmlns:a16="http://schemas.microsoft.com/office/drawing/2014/main" id="{83865C84-D26D-478E-B5F9-4B82EA7C87EC}"/>
              </a:ext>
            </a:extLst>
          </p:cNvPr>
          <p:cNvSpPr/>
          <p:nvPr>
            <p:custDataLst>
              <p:tags r:id="rId133"/>
            </p:custDataLst>
          </p:nvPr>
        </p:nvSpPr>
        <p:spPr bwMode="gray">
          <a:xfrm>
            <a:off x="5007744" y="3458351"/>
            <a:ext cx="114300" cy="114300"/>
          </a:xfrm>
          <a:prstGeom prst="triangle">
            <a:avLst/>
          </a:prstGeom>
          <a:solidFill>
            <a:schemeClr val="accent4">
              <a:lumMod val="40000"/>
              <a:lumOff val="60000"/>
            </a:schemeClr>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4" name="Isosceles Triangle 153">
            <a:extLst>
              <a:ext uri="{FF2B5EF4-FFF2-40B4-BE49-F238E27FC236}">
                <a16:creationId xmlns:a16="http://schemas.microsoft.com/office/drawing/2014/main" id="{1C86FBDF-0C44-4E1C-86CF-D293B2FF7BEC}"/>
              </a:ext>
            </a:extLst>
          </p:cNvPr>
          <p:cNvSpPr/>
          <p:nvPr>
            <p:custDataLst>
              <p:tags r:id="rId134"/>
            </p:custDataLst>
          </p:nvPr>
        </p:nvSpPr>
        <p:spPr bwMode="gray">
          <a:xfrm>
            <a:off x="5696940" y="3419858"/>
            <a:ext cx="114300" cy="114300"/>
          </a:xfrm>
          <a:prstGeom prst="triangle">
            <a:avLst/>
          </a:prstGeom>
          <a:solidFill>
            <a:schemeClr val="accent4">
              <a:lumMod val="40000"/>
              <a:lumOff val="60000"/>
            </a:schemeClr>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6" name="Isosceles Triangle 155">
            <a:extLst>
              <a:ext uri="{FF2B5EF4-FFF2-40B4-BE49-F238E27FC236}">
                <a16:creationId xmlns:a16="http://schemas.microsoft.com/office/drawing/2014/main" id="{C2ACF1F8-8333-47EA-ABCE-18A522F21B33}"/>
              </a:ext>
            </a:extLst>
          </p:cNvPr>
          <p:cNvSpPr/>
          <p:nvPr>
            <p:custDataLst>
              <p:tags r:id="rId135"/>
            </p:custDataLst>
          </p:nvPr>
        </p:nvSpPr>
        <p:spPr bwMode="gray">
          <a:xfrm>
            <a:off x="6426105" y="3440172"/>
            <a:ext cx="114300" cy="114300"/>
          </a:xfrm>
          <a:prstGeom prst="triangle">
            <a:avLst/>
          </a:prstGeom>
          <a:solidFill>
            <a:schemeClr val="accent4">
              <a:lumMod val="40000"/>
              <a:lumOff val="60000"/>
            </a:schemeClr>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62" name="Straight Connector 161">
            <a:extLst>
              <a:ext uri="{FF2B5EF4-FFF2-40B4-BE49-F238E27FC236}">
                <a16:creationId xmlns:a16="http://schemas.microsoft.com/office/drawing/2014/main" id="{3CCBE162-63F2-4222-A1E7-6514E5698478}"/>
              </a:ext>
            </a:extLst>
          </p:cNvPr>
          <p:cNvCxnSpPr/>
          <p:nvPr>
            <p:custDataLst>
              <p:tags r:id="rId136"/>
            </p:custDataLst>
          </p:nvPr>
        </p:nvCxnSpPr>
        <p:spPr bwMode="auto">
          <a:xfrm>
            <a:off x="-9959" y="2813902"/>
            <a:ext cx="12192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4" name="Text Placeholder 2">
            <a:extLst>
              <a:ext uri="{FF2B5EF4-FFF2-40B4-BE49-F238E27FC236}">
                <a16:creationId xmlns:a16="http://schemas.microsoft.com/office/drawing/2014/main" id="{81E41DFD-35E8-4C7A-8277-0CCADA9F9EC9}"/>
              </a:ext>
            </a:extLst>
          </p:cNvPr>
          <p:cNvSpPr>
            <a:spLocks noGrp="1"/>
          </p:cNvSpPr>
          <p:nvPr>
            <p:custDataLst>
              <p:tags r:id="rId137"/>
            </p:custDataLst>
          </p:nvPr>
        </p:nvSpPr>
        <p:spPr bwMode="auto">
          <a:xfrm>
            <a:off x="52033" y="3011705"/>
            <a:ext cx="1111250" cy="216212"/>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mn-ea"/>
                <a:cs typeface="+mn-cs"/>
              </a:rPr>
              <a:t>Mule Soft</a:t>
            </a:r>
          </a:p>
        </p:txBody>
      </p:sp>
      <p:sp>
        <p:nvSpPr>
          <p:cNvPr id="166" name="Isosceles Triangle 165">
            <a:extLst>
              <a:ext uri="{FF2B5EF4-FFF2-40B4-BE49-F238E27FC236}">
                <a16:creationId xmlns:a16="http://schemas.microsoft.com/office/drawing/2014/main" id="{54C0E6DC-BF16-4791-ACD9-47694033D9CA}"/>
              </a:ext>
            </a:extLst>
          </p:cNvPr>
          <p:cNvSpPr/>
          <p:nvPr>
            <p:custDataLst>
              <p:tags r:id="rId138"/>
            </p:custDataLst>
          </p:nvPr>
        </p:nvSpPr>
        <p:spPr bwMode="gray">
          <a:xfrm>
            <a:off x="5024304" y="3730832"/>
            <a:ext cx="114300" cy="114300"/>
          </a:xfrm>
          <a:prstGeom prst="triangle">
            <a:avLst/>
          </a:prstGeom>
          <a:solidFill>
            <a:schemeClr val="accent2">
              <a:lumMod val="40000"/>
              <a:lumOff val="60000"/>
            </a:schemeClr>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0" name="TextBox 169">
            <a:extLst>
              <a:ext uri="{FF2B5EF4-FFF2-40B4-BE49-F238E27FC236}">
                <a16:creationId xmlns:a16="http://schemas.microsoft.com/office/drawing/2014/main" id="{3C5AB54B-193E-4956-A07E-8B3A6594A129}"/>
              </a:ext>
            </a:extLst>
          </p:cNvPr>
          <p:cNvSpPr txBox="1"/>
          <p:nvPr/>
        </p:nvSpPr>
        <p:spPr>
          <a:xfrm>
            <a:off x="4797853" y="3803577"/>
            <a:ext cx="867832" cy="246221"/>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70C0"/>
                </a:solidFill>
                <a:effectLst/>
                <a:uLnTx/>
                <a:uFillTx/>
                <a:latin typeface="Calibri" panose="020F0502020204030204"/>
                <a:ea typeface="+mn-ea"/>
                <a:cs typeface="+mn-cs"/>
              </a:rPr>
              <a:t>Baseline flow</a:t>
            </a:r>
            <a:endParaRPr kumimoji="0" lang="en-US" sz="10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173" name="Isosceles Triangle 172">
            <a:extLst>
              <a:ext uri="{FF2B5EF4-FFF2-40B4-BE49-F238E27FC236}">
                <a16:creationId xmlns:a16="http://schemas.microsoft.com/office/drawing/2014/main" id="{E06A6EC1-45DF-434F-BBCB-EAAF21CF0732}"/>
              </a:ext>
            </a:extLst>
          </p:cNvPr>
          <p:cNvSpPr/>
          <p:nvPr>
            <p:custDataLst>
              <p:tags r:id="rId139"/>
            </p:custDataLst>
          </p:nvPr>
        </p:nvSpPr>
        <p:spPr bwMode="gray">
          <a:xfrm>
            <a:off x="6417956" y="3729028"/>
            <a:ext cx="114300" cy="114300"/>
          </a:xfrm>
          <a:prstGeom prst="triangle">
            <a:avLst/>
          </a:prstGeom>
          <a:solidFill>
            <a:schemeClr val="accent2">
              <a:lumMod val="40000"/>
              <a:lumOff val="60000"/>
            </a:schemeClr>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8" name="TextBox 177">
            <a:extLst>
              <a:ext uri="{FF2B5EF4-FFF2-40B4-BE49-F238E27FC236}">
                <a16:creationId xmlns:a16="http://schemas.microsoft.com/office/drawing/2014/main" id="{6DCA1FF5-4F36-441C-A9A4-132DB2B8EB56}"/>
              </a:ext>
            </a:extLst>
          </p:cNvPr>
          <p:cNvSpPr txBox="1"/>
          <p:nvPr/>
        </p:nvSpPr>
        <p:spPr>
          <a:xfrm>
            <a:off x="6324347" y="3792046"/>
            <a:ext cx="4600305" cy="246221"/>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70C0"/>
                </a:solidFill>
                <a:effectLst/>
                <a:uLnTx/>
                <a:uFillTx/>
                <a:latin typeface="Calibri" panose="020F0502020204030204"/>
                <a:ea typeface="+mn-ea"/>
                <a:cs typeface="+mn-cs"/>
              </a:rPr>
              <a:t>Settlement, Promo data, Promo P&amp;L, Full P&amp;L, Pricing Condition On/Off-invoice OUT </a:t>
            </a:r>
            <a:endParaRPr kumimoji="0" lang="en-US" sz="10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179" name="Text Placeholder 2">
            <a:extLst>
              <a:ext uri="{FF2B5EF4-FFF2-40B4-BE49-F238E27FC236}">
                <a16:creationId xmlns:a16="http://schemas.microsoft.com/office/drawing/2014/main" id="{2745A0AC-8C5A-4E40-ABE7-49D7524DA7AB}"/>
              </a:ext>
            </a:extLst>
          </p:cNvPr>
          <p:cNvSpPr>
            <a:spLocks noGrp="1"/>
          </p:cNvSpPr>
          <p:nvPr>
            <p:custDataLst>
              <p:tags r:id="rId140"/>
            </p:custDataLst>
          </p:nvPr>
        </p:nvSpPr>
        <p:spPr bwMode="auto">
          <a:xfrm>
            <a:off x="76748" y="3790567"/>
            <a:ext cx="521321" cy="12288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mn-ea"/>
                <a:cs typeface="+mn-cs"/>
              </a:rPr>
              <a:t>D4GV</a:t>
            </a:r>
          </a:p>
        </p:txBody>
      </p:sp>
      <p:sp>
        <p:nvSpPr>
          <p:cNvPr id="180" name="Text Placeholder 2">
            <a:extLst>
              <a:ext uri="{FF2B5EF4-FFF2-40B4-BE49-F238E27FC236}">
                <a16:creationId xmlns:a16="http://schemas.microsoft.com/office/drawing/2014/main" id="{DB74918F-1C4D-4679-8E2D-8EA089D9F86E}"/>
              </a:ext>
            </a:extLst>
          </p:cNvPr>
          <p:cNvSpPr>
            <a:spLocks noGrp="1"/>
          </p:cNvSpPr>
          <p:nvPr>
            <p:custDataLst>
              <p:tags r:id="rId141"/>
            </p:custDataLst>
          </p:nvPr>
        </p:nvSpPr>
        <p:spPr bwMode="auto">
          <a:xfrm>
            <a:off x="4188141" y="2867148"/>
            <a:ext cx="1924252" cy="229742"/>
          </a:xfrm>
          <a:prstGeom prst="homePlate">
            <a:avLst>
              <a:gd name="adj" fmla="val 18077"/>
            </a:avLst>
          </a:prstGeom>
          <a:solidFill>
            <a:schemeClr val="accent2">
              <a:lumMod val="20000"/>
              <a:lumOff val="80000"/>
            </a:schemeClr>
          </a:solidFill>
          <a:ln w="9525" algn="ctr">
            <a:solidFill>
              <a:schemeClr val="tx1"/>
            </a:solidFill>
          </a:ln>
          <a:effectLst/>
        </p:spPr>
        <p:txBody>
          <a:bodyPr vert="horz" wrap="none" lIns="90488" tIns="45720" rIns="0"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Environment Readiness</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Text Placeholder 2">
            <a:extLst>
              <a:ext uri="{FF2B5EF4-FFF2-40B4-BE49-F238E27FC236}">
                <a16:creationId xmlns:a16="http://schemas.microsoft.com/office/drawing/2014/main" id="{5CA5F53F-FEAD-427D-B975-601AE94F9200}"/>
              </a:ext>
            </a:extLst>
          </p:cNvPr>
          <p:cNvSpPr>
            <a:spLocks noGrp="1"/>
          </p:cNvSpPr>
          <p:nvPr>
            <p:custDataLst>
              <p:tags r:id="rId142"/>
            </p:custDataLst>
          </p:nvPr>
        </p:nvSpPr>
        <p:spPr bwMode="auto">
          <a:xfrm>
            <a:off x="6131826" y="2856484"/>
            <a:ext cx="589716" cy="240406"/>
          </a:xfrm>
          <a:prstGeom prst="homePlate">
            <a:avLst>
              <a:gd name="adj" fmla="val 18077"/>
            </a:avLst>
          </a:prstGeom>
          <a:solidFill>
            <a:schemeClr val="accent2">
              <a:lumMod val="20000"/>
              <a:lumOff val="80000"/>
            </a:schemeClr>
          </a:solidFill>
          <a:ln w="9525" algn="ctr">
            <a:solidFill>
              <a:schemeClr val="tx1"/>
            </a:solidFill>
          </a:ln>
          <a:effectLst/>
        </p:spPr>
        <p:txBody>
          <a:bodyPr vert="horz" wrap="square" lIns="90488" tIns="45720" rIns="60325"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Mule  Sprint 1</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Text Placeholder 2">
            <a:extLst>
              <a:ext uri="{FF2B5EF4-FFF2-40B4-BE49-F238E27FC236}">
                <a16:creationId xmlns:a16="http://schemas.microsoft.com/office/drawing/2014/main" id="{59920A25-272D-4C88-B04D-8D9CE0133D94}"/>
              </a:ext>
            </a:extLst>
          </p:cNvPr>
          <p:cNvSpPr>
            <a:spLocks noGrp="1"/>
          </p:cNvSpPr>
          <p:nvPr>
            <p:custDataLst>
              <p:tags r:id="rId143"/>
            </p:custDataLst>
          </p:nvPr>
        </p:nvSpPr>
        <p:spPr bwMode="auto">
          <a:xfrm>
            <a:off x="6736280" y="2865992"/>
            <a:ext cx="943939" cy="216844"/>
          </a:xfrm>
          <a:prstGeom prst="homePlate">
            <a:avLst>
              <a:gd name="adj" fmla="val 18077"/>
            </a:avLst>
          </a:prstGeom>
          <a:solidFill>
            <a:schemeClr val="accent2">
              <a:lumMod val="20000"/>
              <a:lumOff val="80000"/>
            </a:schemeClr>
          </a:solidFill>
          <a:ln w="9525" algn="ctr">
            <a:solidFill>
              <a:schemeClr val="tx1"/>
            </a:solidFill>
          </a:ln>
          <a:effectLst/>
        </p:spPr>
        <p:txBody>
          <a:bodyPr vert="horz" wrap="square" lIns="90488" tIns="45720" rIns="60325"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Mule Sprint 2</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Text Placeholder 2">
            <a:extLst>
              <a:ext uri="{FF2B5EF4-FFF2-40B4-BE49-F238E27FC236}">
                <a16:creationId xmlns:a16="http://schemas.microsoft.com/office/drawing/2014/main" id="{D938F2E8-8AA9-49BD-A71D-91106B0971C6}"/>
              </a:ext>
            </a:extLst>
          </p:cNvPr>
          <p:cNvSpPr>
            <a:spLocks noGrp="1"/>
          </p:cNvSpPr>
          <p:nvPr>
            <p:custDataLst>
              <p:tags r:id="rId144"/>
            </p:custDataLst>
          </p:nvPr>
        </p:nvSpPr>
        <p:spPr bwMode="auto">
          <a:xfrm>
            <a:off x="7700478" y="2869185"/>
            <a:ext cx="989370" cy="213652"/>
          </a:xfrm>
          <a:prstGeom prst="homePlate">
            <a:avLst>
              <a:gd name="adj" fmla="val 18077"/>
            </a:avLst>
          </a:prstGeom>
          <a:solidFill>
            <a:schemeClr val="accent2">
              <a:lumMod val="20000"/>
              <a:lumOff val="80000"/>
            </a:schemeClr>
          </a:solidFill>
          <a:ln w="9525" algn="ctr">
            <a:solidFill>
              <a:schemeClr val="tx1"/>
            </a:solidFill>
          </a:ln>
          <a:effectLst/>
        </p:spPr>
        <p:txBody>
          <a:bodyPr vert="horz" wrap="square" lIns="90488" tIns="45720" rIns="60325"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Mule Sprint 3</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Text Placeholder 2">
            <a:extLst>
              <a:ext uri="{FF2B5EF4-FFF2-40B4-BE49-F238E27FC236}">
                <a16:creationId xmlns:a16="http://schemas.microsoft.com/office/drawing/2014/main" id="{B15A9AF1-7D3B-47FE-A785-D587668F23E0}"/>
              </a:ext>
            </a:extLst>
          </p:cNvPr>
          <p:cNvSpPr>
            <a:spLocks noGrp="1"/>
          </p:cNvSpPr>
          <p:nvPr>
            <p:custDataLst>
              <p:tags r:id="rId145"/>
            </p:custDataLst>
          </p:nvPr>
        </p:nvSpPr>
        <p:spPr bwMode="auto">
          <a:xfrm>
            <a:off x="8686411" y="2875434"/>
            <a:ext cx="935038" cy="221456"/>
          </a:xfrm>
          <a:prstGeom prst="homePlate">
            <a:avLst>
              <a:gd name="adj" fmla="val 18077"/>
            </a:avLst>
          </a:prstGeom>
          <a:solidFill>
            <a:schemeClr val="accent2">
              <a:lumMod val="20000"/>
              <a:lumOff val="80000"/>
            </a:schemeClr>
          </a:solidFill>
          <a:ln w="9525" algn="ctr">
            <a:solidFill>
              <a:schemeClr val="tx1"/>
            </a:solidFill>
          </a:ln>
          <a:effectLst/>
        </p:spPr>
        <p:txBody>
          <a:bodyPr vert="horz" wrap="square" lIns="90488" tIns="45720" rIns="60325"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Mule Sprint 4</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Isosceles Triangle 184">
            <a:extLst>
              <a:ext uri="{FF2B5EF4-FFF2-40B4-BE49-F238E27FC236}">
                <a16:creationId xmlns:a16="http://schemas.microsoft.com/office/drawing/2014/main" id="{2D73C467-E255-424F-B948-B743C0F6C09C}"/>
              </a:ext>
            </a:extLst>
          </p:cNvPr>
          <p:cNvSpPr/>
          <p:nvPr>
            <p:custDataLst>
              <p:tags r:id="rId146"/>
            </p:custDataLst>
          </p:nvPr>
        </p:nvSpPr>
        <p:spPr bwMode="gray">
          <a:xfrm>
            <a:off x="3931842" y="2897405"/>
            <a:ext cx="114300" cy="114300"/>
          </a:xfrm>
          <a:prstGeom prst="triangle">
            <a:avLst/>
          </a:prstGeom>
          <a:solidFill>
            <a:schemeClr val="accent4">
              <a:lumMod val="40000"/>
              <a:lumOff val="60000"/>
            </a:schemeClr>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6" name="TextBox 185">
            <a:extLst>
              <a:ext uri="{FF2B5EF4-FFF2-40B4-BE49-F238E27FC236}">
                <a16:creationId xmlns:a16="http://schemas.microsoft.com/office/drawing/2014/main" id="{2B1B0E0D-6388-4228-9065-F2487BBB693A}"/>
              </a:ext>
            </a:extLst>
          </p:cNvPr>
          <p:cNvSpPr txBox="1"/>
          <p:nvPr/>
        </p:nvSpPr>
        <p:spPr>
          <a:xfrm>
            <a:off x="3180948" y="3063321"/>
            <a:ext cx="1625512" cy="246221"/>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70C0"/>
                </a:solidFill>
                <a:effectLst/>
                <a:uLnTx/>
                <a:uFillTx/>
                <a:latin typeface="Calibri" panose="020F0502020204030204"/>
                <a:ea typeface="+mn-ea"/>
                <a:cs typeface="+mn-cs"/>
              </a:rPr>
              <a:t>SOW &amp; License Agreements</a:t>
            </a:r>
            <a:endParaRPr kumimoji="0" lang="en-US" sz="10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187" name="Isosceles Triangle 186">
            <a:extLst>
              <a:ext uri="{FF2B5EF4-FFF2-40B4-BE49-F238E27FC236}">
                <a16:creationId xmlns:a16="http://schemas.microsoft.com/office/drawing/2014/main" id="{51CF3778-9C99-42A1-91D6-297FF7A9183C}"/>
              </a:ext>
            </a:extLst>
          </p:cNvPr>
          <p:cNvSpPr/>
          <p:nvPr>
            <p:custDataLst>
              <p:tags r:id="rId147"/>
            </p:custDataLst>
          </p:nvPr>
        </p:nvSpPr>
        <p:spPr bwMode="gray">
          <a:xfrm>
            <a:off x="10534653" y="3134404"/>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8" name="Isosceles Triangle 187">
            <a:extLst>
              <a:ext uri="{FF2B5EF4-FFF2-40B4-BE49-F238E27FC236}">
                <a16:creationId xmlns:a16="http://schemas.microsoft.com/office/drawing/2014/main" id="{B5AB2C11-6871-4C23-8543-174DA66BF532}"/>
              </a:ext>
            </a:extLst>
          </p:cNvPr>
          <p:cNvSpPr/>
          <p:nvPr>
            <p:custDataLst>
              <p:tags r:id="rId148"/>
            </p:custDataLst>
          </p:nvPr>
        </p:nvSpPr>
        <p:spPr bwMode="gray">
          <a:xfrm>
            <a:off x="10875963" y="3295660"/>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9" name="Text Placeholder 2">
            <a:extLst>
              <a:ext uri="{FF2B5EF4-FFF2-40B4-BE49-F238E27FC236}">
                <a16:creationId xmlns:a16="http://schemas.microsoft.com/office/drawing/2014/main" id="{DF34DCF6-11CE-4C88-9048-06E66F527BC8}"/>
              </a:ext>
            </a:extLst>
          </p:cNvPr>
          <p:cNvSpPr>
            <a:spLocks noGrp="1"/>
          </p:cNvSpPr>
          <p:nvPr>
            <p:custDataLst>
              <p:tags r:id="rId149"/>
            </p:custDataLst>
          </p:nvPr>
        </p:nvSpPr>
        <p:spPr bwMode="auto">
          <a:xfrm>
            <a:off x="9517859" y="3099233"/>
            <a:ext cx="1012825" cy="198837"/>
          </a:xfrm>
          <a:prstGeom prst="chevron">
            <a:avLst>
              <a:gd name="adj" fmla="val 18077"/>
            </a:avLst>
          </a:prstGeom>
          <a:solidFill>
            <a:schemeClr val="accent2">
              <a:lumMod val="20000"/>
              <a:lumOff val="80000"/>
            </a:schemeClr>
          </a:solidFill>
          <a:ln w="9525" algn="ctr">
            <a:solidFill>
              <a:schemeClr val="tx1"/>
            </a:solidFill>
          </a:ln>
          <a:effectLst/>
        </p:spPr>
        <p:txBody>
          <a:bodyPr vert="horz" wrap="square" lIns="90488" tIns="45720" rIns="0" bIns="4572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UAT Execution</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 name="Text Placeholder 2">
            <a:extLst>
              <a:ext uri="{FF2B5EF4-FFF2-40B4-BE49-F238E27FC236}">
                <a16:creationId xmlns:a16="http://schemas.microsoft.com/office/drawing/2014/main" id="{D5E16061-E979-4544-B42C-583F9E670E34}"/>
              </a:ext>
            </a:extLst>
          </p:cNvPr>
          <p:cNvSpPr>
            <a:spLocks noGrp="1"/>
          </p:cNvSpPr>
          <p:nvPr>
            <p:custDataLst>
              <p:tags r:id="rId150"/>
            </p:custDataLst>
          </p:nvPr>
        </p:nvSpPr>
        <p:spPr bwMode="auto">
          <a:xfrm>
            <a:off x="11045033" y="3288763"/>
            <a:ext cx="1127125" cy="150813"/>
          </a:xfrm>
          <a:prstGeom prst="rect">
            <a:avLst/>
          </a:prstGeom>
          <a:solidFill>
            <a:srgbClr val="92D050"/>
          </a:solidFill>
          <a:ln>
            <a:noFill/>
          </a:ln>
          <a:effec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BGL: 27</a:t>
            </a:r>
            <a:r>
              <a:rPr kumimoji="0" lang="en-GB" altLang="en-US" sz="900" b="0" i="0" u="none" strike="noStrike" kern="1200" cap="none" spc="0" normalizeH="0" baseline="30000" noProof="0" dirty="0">
                <a:ln>
                  <a:noFill/>
                </a:ln>
                <a:solidFill>
                  <a:prstClr val="black"/>
                </a:solidFill>
                <a:effectLst/>
                <a:uLnTx/>
                <a:uFillTx/>
                <a:latin typeface="Calibri" panose="020F0502020204030204"/>
                <a:ea typeface="+mn-ea"/>
                <a:cs typeface="+mn-cs"/>
              </a:rPr>
              <a:t>th</a:t>
            </a: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 June 2021</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 name="Isosceles Triangle 190">
            <a:extLst>
              <a:ext uri="{FF2B5EF4-FFF2-40B4-BE49-F238E27FC236}">
                <a16:creationId xmlns:a16="http://schemas.microsoft.com/office/drawing/2014/main" id="{09E15A72-C0FC-47D5-A499-2BC60E9DEE09}"/>
              </a:ext>
            </a:extLst>
          </p:cNvPr>
          <p:cNvSpPr/>
          <p:nvPr>
            <p:custDataLst>
              <p:tags r:id="rId151"/>
            </p:custDataLst>
          </p:nvPr>
        </p:nvSpPr>
        <p:spPr bwMode="gray">
          <a:xfrm>
            <a:off x="10477503" y="2619737"/>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2" name="TextBox 191">
            <a:extLst>
              <a:ext uri="{FF2B5EF4-FFF2-40B4-BE49-F238E27FC236}">
                <a16:creationId xmlns:a16="http://schemas.microsoft.com/office/drawing/2014/main" id="{C867C483-8108-4997-BD0D-AA5B71F1CE9A}"/>
              </a:ext>
            </a:extLst>
          </p:cNvPr>
          <p:cNvSpPr txBox="1"/>
          <p:nvPr/>
        </p:nvSpPr>
        <p:spPr>
          <a:xfrm>
            <a:off x="325119" y="81280"/>
            <a:ext cx="887920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Calibri Light" panose="020F0302020204030204"/>
                <a:ea typeface="+mn-ea"/>
                <a:cs typeface="+mn-cs"/>
              </a:rPr>
              <a:t>ACTPM, Mule , ADF and D4GV – Proposed plan</a:t>
            </a:r>
          </a:p>
        </p:txBody>
      </p:sp>
    </p:spTree>
    <p:extLst>
      <p:ext uri="{BB962C8B-B14F-4D97-AF65-F5344CB8AC3E}">
        <p14:creationId xmlns:p14="http://schemas.microsoft.com/office/powerpoint/2010/main" val="1414088570"/>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DSajlW38ANgR6MpDbBVp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WlNTpvrZyGGLEu0uncaP4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WKtgWV6Fg_zBBPNYh0qe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zeUMrQgR8adq7uK_jgPEa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f9sBjG6MeUJj0eXtdnelD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y2V7ZSRkSnqqOayCBpP6H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FFXfpe3l8J83zBByeL66D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Yx4DxMuNOk8GV9iQR7ngM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LRIPFR80wobgoe7vnEHNr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ZJX9zGff3vXg_s6zs3qKm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F8b5wDwW96g_d1vG5H9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4k0IYFKkGSjCFtv7FcWc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3ffXYnojTnkwgYokxN.z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wIsfCThno.lWLR8dGtB_O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rrSWvr0i015qnSdbWxW6m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ZT5sRC7YusUArmsUyTTXq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3hSAfPZzd9Qdg6HBnBYgK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TKH4mhTN437bxIzqlayLQ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KH4mhTN437bxIzqlayLQ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TKH4mhTN437bxIzqlayLQ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TKH4mhTN437bxIzqlayLQ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TKH4mhTN437bxIzqlayL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vXzHtA2paPm37iOSC_pu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TKH4mhTN437bxIzqlayLQ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uj22ojQOvck.hP4Nr_CTX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uj22ojQOvck.hP4Nr_CTX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uj22ojQOvck.hP4Nr_CTX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uj22ojQOvck.hP4Nr_CTX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uj22ojQOvck.hP4Nr_CTX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j22ojQOvck.hP4Nr_CTX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uj22ojQOvck.hP4Nr_CTX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TKH4mhTN437bxIzqlayLQ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TKH4mhTN437bxIzqlayL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7ywsFHp9K3wB56VIvDuhB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wIsfCThno.lWLR8dGtB_O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1CUnBUHvyXP5IkCGGp_s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Yx4DxMuNOk8GV9iQR7ngM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TKH4mhTN437bxIzqlayLQ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TKH4mhTN437bxIzqlayLQ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TKH4mhTN437bxIzqlayLQ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o1CUnBUHvyXP5IkCGGp_s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Yx4DxMuNOk8GV9iQR7ngM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TKH4mhTN437bxIzqlayLQ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TKH4mhTN437bxIzqlayL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gu_AMH7S5HMNTy7Kt4Yr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Yx4DxMuNOk8GV9iQR7ngM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MiWyBGE_OYU0KzLylec2d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fg_1IjM9Uf6qL7l9OR6tj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EWzwzjcZrjT0RQn5xYdZi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EWzwzjcZrjT0RQn5xYdZi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ewpzlE16McmoCnr33lVix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TKH4mhTN437bxIzqlayLQ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TKH4mhTN437bxIzqlayLQ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TKH4mhTN437bxIzqlayLQ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PayeQkef0hN64Q09Y._cu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5AlFyYNRgGAKEFWpFC4O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FFXfpe3l8J83zBByeL66D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TKH4mhTN437bxIzqlayLQ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1RvowxFZNPubaid1hVKM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C8xxyC3zXXpNGTdbgDM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67DDAgMQ27qeDPszwLMtE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M8nQuGyv2m4sUyEMSAz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wnQmWR5baxVBqNxePWjm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7WUvbNLpAX2YHJrzdDiuY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Al73lm5ysdRgCxbMkL0q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ikDOkQeAXSY5YInKGMst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JkcatQADgi9FpBiV9oh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e2TSg27ZILrIPyvqi.e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tdRcDhmxTI3RtECVaqdl8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uVwXtZ4eCy6c8mRonR3W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tz2ha06T.oTx3ICH6Uf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FIObnl0gL9GO6fBXfgVY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xVG1VFVMqN.khNo6GdXJ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mWVb0htgiYgyFrXdiNuE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e7cy2NhM1mLYBLnYSFB3d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hhdenIS_LmTt1Bs0s7C1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3xfhLE2A7iIadOfWa9nQs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kYsikhr87qrZEV62MSd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_3ez3BaC_QyZM4P2G5CW1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R0YUxx6hkHKP4s3DgtHY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jQnlutt2tRIdFQpJhcR6l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vPk_1LQR4Gh_gMm2DPzo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HTvpzWQCLcUpdEeVlV6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peu2nsN_haWrRF50wAQV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NBG9DNJ8SdpstdRTZov_D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LXtiOoFNVRaMsqqvb1WR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g7jlepPJONmYFKTu7Awf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ZaYi7rUv0ORzWA42jlZDc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zffU99YckxEQwaOHWX1z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8jxQ3NstAdLcWK_3xGkLY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Ri2MWi.aUCG17nB8jLEe2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x4tSmJ9U7QbEewp_Npg2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wUfKsxLA31xaiV6sI.5vb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EoKGgiDWR.5trkOFKB4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mMszjS8Y4Qud9pzrvu8d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7BbAChSkuefnVlSw6bX0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2OIZ4rw0cqQ9H.LdZNwT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lokERhQh3o0M6poFY_rJ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K1EUuisNOOpSKMo0BCXx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4C3G42Hg_YOka.5XsViyh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511pE4yyyYfyju3pvw5px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_9P33SsqbgLGDNPMRnYbA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nTWqDuNe.VIK603HId7N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pEgjsVqfCLUJ_oFMQ0d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h4gf5TiyZpm574DfI25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KRvdEprP0bWIzwj3kbGi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d9HPCoKAbbzmnwzJ3rWK3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cTxDkIAmH38f92K7oK1p6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SEskXEouyXAd6kayj.L3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8DfK26cuBNZs3a8fway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dk7aboNwX_a0DrJx3XYt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nvK3z6oHLKgcIAs_.0WH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6Pk1iSqHIwQH43riBFn3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ElquJAsYpYzTlQdm.mrqf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QWvuoMyOcEoXT8p7DmWY0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qWMf2HKbDTZsb1j5lyxM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YX6SPmZIxuLu2gmfPbEJ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1WzqEdP28bm9s90KovDO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qufkjOvRkcc.s05nCLx0I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o1CUnBUHvyXP5IkCGGp_s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ave1DlBhYtkDzEGziT1d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0v5UuQkQ2X4AtPE3i7iOH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I7U.UUwTUulssR5CKLAa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ewpzlE16McmoCnr33lVix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Lp7kmlB8WnkjPVmnEAa0W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NztZ0w82dAqQWIQYZRCL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WzwzjcZrjT0RQn5xYdZ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0Opu.EdiZ4iz.TcxeH0nN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UxnJeRZucsXrUf1rTdra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fg_1IjM9Uf6qL7l9OR6tj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PayeQkef0hN64Q09Y._cu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uvHOcZoApeAYDbA4sgfUi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j22ojQOvck.hP4Nr_CTX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rS_MmQptl2tKi0QaKLKEY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vMqJUgWjStj4scJQrLd3C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0y8koTAaugOUHBqq9_ulJ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yy6_yXK4BM3Q2Mt4EMPr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DjBR8wHZQ6wYhb1E6.qw8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7laf1e7FtX1Vb8WfGRHT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MiWyBGE_OYU0KzLylec2d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uX_5GU8bKdDXFA6Qyf3W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dQhE1zc7p2WXw0Y_iKSTj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ZcfC5KNIHEHBDOfnWEhhq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TKH4mhTN437bxIzqlayLQ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zkup23nBMPd0MP9NkoqO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Wb0SC8yKJwQqES3BDIlN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bHwoRFu7DvW_xznYCokJB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sTjFDW0RRSreNS5I0mygb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1AmHxIk_wmBtOfpP0_MRcA"/>
</p:tagLst>
</file>

<file path=ppt/theme/theme1.xml><?xml version="1.0" encoding="utf-8"?>
<a:theme xmlns:a="http://schemas.openxmlformats.org/drawingml/2006/main" name="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latin typeface="Verdana" pitchFamily="34" charset="0"/>
            <a:ea typeface="Verdana" pitchFamily="34" charset="0"/>
            <a:cs typeface="Verdana"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1C1D208F046994D93196C8E7055E434" ma:contentTypeVersion="0" ma:contentTypeDescription="Create a new document." ma:contentTypeScope="" ma:versionID="17fd3c19bcea43461a5687fe5c81a8f3">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B7BAD76-E12C-4A2E-9E0D-041AD49A5867}">
  <ds:schemaRefs>
    <ds:schemaRef ds:uri="http://purl.org/dc/terms/"/>
    <ds:schemaRef ds:uri="http://schemas.openxmlformats.org/package/2006/metadata/core-properties"/>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5399B7DB-8896-4172-8686-EE7D62EE25DE}">
  <ds:schemaRefs>
    <ds:schemaRef ds:uri="http://schemas.microsoft.com/sharepoint/v3/contenttype/forms"/>
  </ds:schemaRefs>
</ds:datastoreItem>
</file>

<file path=customXml/itemProps3.xml><?xml version="1.0" encoding="utf-8"?>
<ds:datastoreItem xmlns:ds="http://schemas.openxmlformats.org/officeDocument/2006/customXml" ds:itemID="{B749631D-C2A7-4C9E-9634-0AC91E840D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2657</TotalTime>
  <Words>1166</Words>
  <Application>Microsoft Office PowerPoint</Application>
  <PresentationFormat>Widescreen</PresentationFormat>
  <Paragraphs>363</Paragraphs>
  <Slides>14</Slides>
  <Notes>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3" baseType="lpstr">
      <vt:lpstr>Arial</vt:lpstr>
      <vt:lpstr>Calibri</vt:lpstr>
      <vt:lpstr>Calibri Light</vt:lpstr>
      <vt:lpstr>Graphik</vt:lpstr>
      <vt:lpstr>Segoe UI</vt:lpstr>
      <vt:lpstr>Verdana</vt:lpstr>
      <vt:lpstr>Blank</vt:lpstr>
      <vt:lpstr>Office Theme</vt:lpstr>
      <vt:lpstr>think-cell Slide</vt:lpstr>
      <vt:lpstr>PowerPoint Presentation</vt:lpstr>
      <vt:lpstr>Business Process Framework To achieve Business Process Excellence we need to effectively integrate these elements</vt:lpstr>
      <vt:lpstr>1. Project Purpose/Expected Results</vt:lpstr>
      <vt:lpstr>2. Project Strategy/Implementation – Pete / David / Kavitha</vt:lpstr>
      <vt:lpstr>3. Project Scope</vt:lpstr>
      <vt:lpstr>4. Governance/RACI Matrix – David </vt:lpstr>
      <vt:lpstr>6. Team Structure &amp; Responsibilities – Pete  </vt:lpstr>
      <vt:lpstr>6. Team Structure &amp; Responsibilities – Kavitha.</vt:lpstr>
      <vt:lpstr>PowerPoint Presentation</vt:lpstr>
      <vt:lpstr>10. Major Risk/issue &amp; Mitigation Plans</vt:lpstr>
      <vt:lpstr>11. Technology</vt:lpstr>
      <vt:lpstr>11. Technology</vt:lpstr>
      <vt:lpstr>7. Change Management Plan &amp; Stakeholder Engagement </vt:lpstr>
      <vt:lpstr>5. Metrics - DEL</vt:lpstr>
    </vt:vector>
  </TitlesOfParts>
  <Company>Kraft Foo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sker, Faiz</dc:creator>
  <cp:keywords/>
  <cp:lastModifiedBy>Golagani, Kavitha Lakshmi</cp:lastModifiedBy>
  <cp:revision>160</cp:revision>
  <dcterms:created xsi:type="dcterms:W3CDTF">2014-03-04T03:57:17Z</dcterms:created>
  <dcterms:modified xsi:type="dcterms:W3CDTF">2022-07-08T13:1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1C1D208F046994D93196C8E7055E434</vt:lpwstr>
  </property>
  <property fmtid="{D5CDD505-2E9C-101B-9397-08002B2CF9AE}" pid="3" name="TaxKeyword">
    <vt:lpwstr/>
  </property>
  <property fmtid="{D5CDD505-2E9C-101B-9397-08002B2CF9AE}" pid="4" name="Country_x0020_Tag">
    <vt:lpwstr/>
  </property>
  <property fmtid="{D5CDD505-2E9C-101B-9397-08002B2CF9AE}" pid="5" name="Function_x0020_Tag">
    <vt:lpwstr/>
  </property>
  <property fmtid="{D5CDD505-2E9C-101B-9397-08002B2CF9AE}" pid="6" name="Region_x0020_Tag">
    <vt:lpwstr/>
  </property>
  <property fmtid="{D5CDD505-2E9C-101B-9397-08002B2CF9AE}" pid="7" name="Sub_x0020_Function_x0020_Tag">
    <vt:lpwstr/>
  </property>
  <property fmtid="{D5CDD505-2E9C-101B-9397-08002B2CF9AE}" pid="8" name="Sub Function Tag">
    <vt:lpwstr/>
  </property>
  <property fmtid="{D5CDD505-2E9C-101B-9397-08002B2CF9AE}" pid="9" name="Function Tag">
    <vt:lpwstr/>
  </property>
  <property fmtid="{D5CDD505-2E9C-101B-9397-08002B2CF9AE}" pid="10" name="Region Tag">
    <vt:lpwstr/>
  </property>
  <property fmtid="{D5CDD505-2E9C-101B-9397-08002B2CF9AE}" pid="11" name="Country Tag">
    <vt:lpwstr/>
  </property>
</Properties>
</file>